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8" r:id="rId1"/>
  </p:sldMasterIdLst>
  <p:notesMasterIdLst>
    <p:notesMasterId r:id="rId7"/>
  </p:notesMasterIdLst>
  <p:handoutMasterIdLst>
    <p:handoutMasterId r:id="rId8"/>
  </p:handoutMasterIdLst>
  <p:sldIdLst>
    <p:sldId id="262" r:id="rId2"/>
    <p:sldId id="264" r:id="rId3"/>
    <p:sldId id="268" r:id="rId4"/>
    <p:sldId id="265" r:id="rId5"/>
    <p:sldId id="266" r:id="rId6"/>
  </p:sldIdLst>
  <p:sldSz cx="12192000" cy="6858000"/>
  <p:notesSz cx="6858000" cy="9144000"/>
  <p:custDataLst>
    <p:tags r:id="rId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8C791D1-577A-447D-96BB-B3F56476A42B}">
  <a:tblStyle styleId="{C8C791D1-577A-447D-96BB-B3F56476A42B}" styleName="MERCK Table Templat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9525" cmpd="sng">
              <a:solidFill>
                <a:schemeClr val="accent1"/>
              </a:solidFill>
            </a:ln>
          </a:top>
          <a:bottom>
            <a:ln w="9525" cmpd="sng">
              <a:solidFill>
                <a:schemeClr val="accent1"/>
              </a:solidFill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inor">
          <a:scrgbClr r="0" g="0" b="0"/>
        </a:fontRef>
        <a:schemeClr val="accent1"/>
      </a:tcTxStyle>
      <a:tcStyle>
        <a:tcBdr/>
      </a:tcStyle>
    </a:lastCol>
    <a:firstCol>
      <a:tcTxStyle b="on">
        <a:fontRef idx="minor">
          <a:scrgbClr r="0" g="0" b="0"/>
        </a:fontRef>
        <a:schemeClr val="accent1"/>
      </a:tcTxStyle>
      <a:tcStyle>
        <a:tcBdr/>
      </a:tcStyle>
    </a:firstCol>
    <a:lastRow>
      <a:tcTxStyle b="on">
        <a:fontRef idx="minor">
          <a:scrgbClr r="0" g="0" b="0"/>
        </a:fontRef>
        <a:schemeClr val="accent1"/>
      </a:tcTxStyle>
      <a:tcStyle>
        <a:tcBdr/>
      </a:tcStyle>
    </a:lastRow>
    <a:firstRow>
      <a:tcTxStyle b="off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8" autoAdjust="0"/>
    <p:restoredTop sz="76609" autoAdjust="0"/>
  </p:normalViewPr>
  <p:slideViewPr>
    <p:cSldViewPr showGuides="1">
      <p:cViewPr varScale="1">
        <p:scale>
          <a:sx n="66" d="100"/>
          <a:sy n="66" d="100"/>
        </p:scale>
        <p:origin x="1282" y="4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4008" y="33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07F8D74-6F29-4D71-9BB6-F4458829C90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1F628D-90E2-4F68-B2E2-0F25C73563A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9919C8-7E38-405E-9526-CB198CA979DD}" type="datetimeFigureOut">
              <a:rPr lang="de-DE"/>
              <a:t>22.05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5C3B8E1-BA8F-4433-B87D-955FDB1798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3B312FB-B258-4142-AAA4-A98E3106FC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8EB280-6282-4CDD-A9E6-BCF203EEAD8B}" type="slidenum">
              <a:rPr lang="de-DE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627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268761" y="8820474"/>
            <a:ext cx="5144482" cy="21602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000" b="0">
                <a:solidFill>
                  <a:schemeClr val="tx1"/>
                </a:solidFill>
              </a:defRPr>
            </a:lvl1pPr>
          </a:lstStyle>
          <a:p>
            <a:pPr defTabSz="914377"/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7785" y="8820474"/>
            <a:ext cx="648072" cy="20785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000" b="0">
                <a:solidFill>
                  <a:schemeClr val="tx1"/>
                </a:solidFill>
              </a:defRPr>
            </a:lvl1pPr>
          </a:lstStyle>
          <a:p>
            <a:pPr defTabSz="914377"/>
            <a:fld id="{28182E2C-AC48-45A1-A539-1D63FC6BDE45}" type="slidenum">
              <a:rPr lang="de-DE"/>
              <a:pPr defTabSz="914377"/>
              <a:t>‹#›</a:t>
            </a:fld>
            <a:endParaRPr lang="de-DE" dirty="0"/>
          </a:p>
        </p:txBody>
      </p:sp>
      <p:sp>
        <p:nvSpPr>
          <p:cNvPr id="9" name="Notes Placeholder 8"/>
          <p:cNvSpPr>
            <a:spLocks noGrp="1"/>
          </p:cNvSpPr>
          <p:nvPr>
            <p:ph type="body" sz="quarter" idx="3"/>
          </p:nvPr>
        </p:nvSpPr>
        <p:spPr>
          <a:xfrm>
            <a:off x="487785" y="3059832"/>
            <a:ext cx="5925457" cy="5625381"/>
          </a:xfrm>
          <a:prstGeom prst="rect">
            <a:avLst/>
          </a:prstGeom>
        </p:spPr>
        <p:txBody>
          <a:bodyPr vert="horz" lIns="0" tIns="3600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ck to edit Master text style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 level</a:t>
            </a:r>
          </a:p>
          <a:p>
            <a:pPr marL="360000" marR="0" lvl="2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rd level</a:t>
            </a:r>
          </a:p>
          <a:p>
            <a:pPr marL="538163" marR="0" lvl="3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urth level</a:t>
            </a:r>
          </a:p>
          <a:p>
            <a:pPr marL="720725" marR="0" lvl="4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fth level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357188"/>
            <a:ext cx="4512734" cy="2538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78373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defTabSz="914400" rtl="0" eaLnBrk="1" fontAlgn="auto" latinLnBrk="0" hangingPunct="1">
      <a:lnSpc>
        <a:spcPct val="100000"/>
      </a:lnSpc>
      <a:spcBef>
        <a:spcPts val="600"/>
      </a:spcBef>
      <a:spcAft>
        <a:spcPts val="300"/>
      </a:spcAft>
      <a:buClrTx/>
      <a:buSzTx/>
      <a:buFont typeface="Arial" panose="020B0604020202020204" pitchFamily="34" charset="0"/>
      <a:buNone/>
      <a:tabLst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Wingdings" panose="05000000000000000000" pitchFamily="2" charset="2"/>
      <a:buChar char="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8163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de-DE"/>
              <a:pPr defTabSz="914377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2036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de-DE"/>
              <a:pPr defTabSz="914377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63213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en-US" sz="1200" dirty="0"/>
              <a:t>We investigate heterogeneity in treatment effect and surviv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alt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en-US" sz="1200" dirty="0"/>
              <a:t>Searching for subpopulations that will particularly benefit from a novel immuno-oncology (IO) treatment in comparison to conventional chemotherapy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de-DE"/>
              <a:pPr defTabSz="914377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4810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DCB9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B38C2AA9-58BF-4B56-86E6-2B39AC3CE7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11502" y="2373313"/>
            <a:ext cx="4168997" cy="2111375"/>
          </a:xfrm>
          <a:prstGeom prst="rect">
            <a:avLst/>
          </a:prstGeom>
        </p:spPr>
      </p:pic>
      <p:sp>
        <p:nvSpPr>
          <p:cNvPr id="5" name="Rechteck 19">
            <a:extLst>
              <a:ext uri="{FF2B5EF4-FFF2-40B4-BE49-F238E27FC236}">
                <a16:creationId xmlns:a16="http://schemas.microsoft.com/office/drawing/2014/main" id="{165FE82E-41BE-42BF-907B-CCF8062A0F51}"/>
              </a:ext>
            </a:extLst>
          </p:cNvPr>
          <p:cNvSpPr/>
          <p:nvPr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Please note: External facing presentation must include trademark and copyright language, as required for all marketing material.</a:t>
            </a: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BA5332C-3561-4F82-BEE0-1154D0C6C3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5656569"/>
            <a:ext cx="10944225" cy="466344"/>
          </a:xfrm>
        </p:spPr>
        <p:txBody>
          <a:bodyPr lIns="91440" tIns="45720" rIns="91440" bIns="4572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900">
                <a:solidFill>
                  <a:schemeClr val="accent1"/>
                </a:solidFill>
                <a:effectLst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accent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accent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accent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z="900" dirty="0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is is a placeholder for trademark and copyright language. </a:t>
            </a:r>
            <a:br>
              <a:rPr lang="en-US" sz="900" dirty="0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dirty="0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.g. “EMD Serono, the vibrant M are trademarks of Merck </a:t>
            </a:r>
            <a:r>
              <a:rPr lang="en-US" sz="900" dirty="0" err="1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GaA</a:t>
            </a:r>
            <a:r>
              <a:rPr lang="en-US" sz="900" dirty="0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Darmstadt, Germany or its affiliates.</a:t>
            </a:r>
            <a:br>
              <a:rPr lang="en-US" sz="900" dirty="0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dirty="0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l other trademarks are the property of their respective owners.”</a:t>
            </a:r>
          </a:p>
          <a:p>
            <a:pPr lvl="0"/>
            <a:br>
              <a:rPr lang="en-US" sz="900" dirty="0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4290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457DF4A-16F6-4783-B322-9EE1D237F9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0AE7251-8D59-49A3-B21B-FA17274A7C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anitz et al. | ML Pipeline for Clinical Trial Data | 25.05.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209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hteck 60">
            <a:extLst>
              <a:ext uri="{FF2B5EF4-FFF2-40B4-BE49-F238E27FC236}">
                <a16:creationId xmlns:a16="http://schemas.microsoft.com/office/drawing/2014/main" id="{C8C382FB-356F-4895-8B83-DD109048C1C8}"/>
              </a:ext>
            </a:extLst>
          </p:cNvPr>
          <p:cNvSpPr/>
          <p:nvPr/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6" name="Freihandform: Form 55">
            <a:extLst>
              <a:ext uri="{FF2B5EF4-FFF2-40B4-BE49-F238E27FC236}">
                <a16:creationId xmlns:a16="http://schemas.microsoft.com/office/drawing/2014/main" id="{70ACF905-D63A-4240-BCDE-11174A42408C}"/>
              </a:ext>
            </a:extLst>
          </p:cNvPr>
          <p:cNvSpPr/>
          <p:nvPr/>
        </p:nvSpPr>
        <p:spPr>
          <a:xfrm>
            <a:off x="10885236" y="-2977"/>
            <a:ext cx="1306763" cy="861512"/>
          </a:xfrm>
          <a:custGeom>
            <a:avLst/>
            <a:gdLst>
              <a:gd name="connsiteX0" fmla="*/ 18700 w 1306763"/>
              <a:gd name="connsiteY0" fmla="*/ 0 h 861512"/>
              <a:gd name="connsiteX1" fmla="*/ 1306763 w 1306763"/>
              <a:gd name="connsiteY1" fmla="*/ 0 h 861512"/>
              <a:gd name="connsiteX2" fmla="*/ 1306763 w 1306763"/>
              <a:gd name="connsiteY2" fmla="*/ 861512 h 861512"/>
              <a:gd name="connsiteX3" fmla="*/ 492547 w 1306763"/>
              <a:gd name="connsiteY3" fmla="*/ 755603 h 861512"/>
              <a:gd name="connsiteX4" fmla="*/ 3127 w 1306763"/>
              <a:gd name="connsiteY4" fmla="*/ 119671 h 86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6763" h="861512">
                <a:moveTo>
                  <a:pt x="18700" y="0"/>
                </a:moveTo>
                <a:lnTo>
                  <a:pt x="1306763" y="0"/>
                </a:lnTo>
                <a:lnTo>
                  <a:pt x="1306763" y="861512"/>
                </a:lnTo>
                <a:lnTo>
                  <a:pt x="492547" y="755603"/>
                </a:lnTo>
                <a:cubicBezTo>
                  <a:pt x="-70132" y="682343"/>
                  <a:pt x="3127" y="119671"/>
                  <a:pt x="3127" y="119671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3" name="Freihandform: Form 52">
            <a:extLst>
              <a:ext uri="{FF2B5EF4-FFF2-40B4-BE49-F238E27FC236}">
                <a16:creationId xmlns:a16="http://schemas.microsoft.com/office/drawing/2014/main" id="{E8E46B28-57CF-4070-AC7B-5028D3C639CB}"/>
              </a:ext>
            </a:extLst>
          </p:cNvPr>
          <p:cNvSpPr/>
          <p:nvPr/>
        </p:nvSpPr>
        <p:spPr>
          <a:xfrm>
            <a:off x="3300754" y="-2977"/>
            <a:ext cx="8548675" cy="6860978"/>
          </a:xfrm>
          <a:custGeom>
            <a:avLst/>
            <a:gdLst>
              <a:gd name="connsiteX0" fmla="*/ 1815049 w 8548675"/>
              <a:gd name="connsiteY0" fmla="*/ 0 h 6860978"/>
              <a:gd name="connsiteX1" fmla="*/ 5475557 w 8548675"/>
              <a:gd name="connsiteY1" fmla="*/ 0 h 6860978"/>
              <a:gd name="connsiteX2" fmla="*/ 8089597 w 8548675"/>
              <a:gd name="connsiteY2" fmla="*/ 1384874 h 6860978"/>
              <a:gd name="connsiteX3" fmla="*/ 8443212 w 8548675"/>
              <a:gd name="connsiteY3" fmla="*/ 2535560 h 6860978"/>
              <a:gd name="connsiteX4" fmla="*/ 6329942 w 8548675"/>
              <a:gd name="connsiteY4" fmla="*/ 6524297 h 6860978"/>
              <a:gd name="connsiteX5" fmla="*/ 6075791 w 8548675"/>
              <a:gd name="connsiteY5" fmla="*/ 6836204 h 6860978"/>
              <a:gd name="connsiteX6" fmla="*/ 6037484 w 8548675"/>
              <a:gd name="connsiteY6" fmla="*/ 6860978 h 6860978"/>
              <a:gd name="connsiteX7" fmla="*/ 5147284 w 8548675"/>
              <a:gd name="connsiteY7" fmla="*/ 6860978 h 6860978"/>
              <a:gd name="connsiteX8" fmla="*/ 459081 w 8548675"/>
              <a:gd name="connsiteY8" fmla="*/ 4377241 h 6860978"/>
              <a:gd name="connsiteX9" fmla="*/ 105461 w 8548675"/>
              <a:gd name="connsiteY9" fmla="*/ 3226555 h 6860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548675" h="6860978">
                <a:moveTo>
                  <a:pt x="1815049" y="0"/>
                </a:moveTo>
                <a:lnTo>
                  <a:pt x="5475557" y="0"/>
                </a:lnTo>
                <a:lnTo>
                  <a:pt x="8089597" y="1384874"/>
                </a:lnTo>
                <a:cubicBezTo>
                  <a:pt x="8841664" y="1783492"/>
                  <a:pt x="8443212" y="2535560"/>
                  <a:pt x="8443212" y="2535560"/>
                </a:cubicBezTo>
                <a:lnTo>
                  <a:pt x="6329942" y="6524297"/>
                </a:lnTo>
                <a:cubicBezTo>
                  <a:pt x="6255232" y="6665310"/>
                  <a:pt x="6168085" y="6765876"/>
                  <a:pt x="6075791" y="6836204"/>
                </a:cubicBezTo>
                <a:lnTo>
                  <a:pt x="6037484" y="6860978"/>
                </a:lnTo>
                <a:lnTo>
                  <a:pt x="5147284" y="6860978"/>
                </a:lnTo>
                <a:lnTo>
                  <a:pt x="459081" y="4377241"/>
                </a:lnTo>
                <a:cubicBezTo>
                  <a:pt x="-292986" y="3978789"/>
                  <a:pt x="105461" y="3226555"/>
                  <a:pt x="105461" y="322655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9" name="Freihandform: Form 58">
            <a:extLst>
              <a:ext uri="{FF2B5EF4-FFF2-40B4-BE49-F238E27FC236}">
                <a16:creationId xmlns:a16="http://schemas.microsoft.com/office/drawing/2014/main" id="{AFF26CBE-D8CA-40C1-AF75-98E3F13E451B}"/>
              </a:ext>
            </a:extLst>
          </p:cNvPr>
          <p:cNvSpPr/>
          <p:nvPr/>
        </p:nvSpPr>
        <p:spPr>
          <a:xfrm rot="1238158">
            <a:off x="10486910" y="4018761"/>
            <a:ext cx="2079421" cy="3311913"/>
          </a:xfrm>
          <a:custGeom>
            <a:avLst/>
            <a:gdLst>
              <a:gd name="connsiteX0" fmla="*/ 652994 w 2079421"/>
              <a:gd name="connsiteY0" fmla="*/ 40934 h 3311913"/>
              <a:gd name="connsiteX1" fmla="*/ 942900 w 2079421"/>
              <a:gd name="connsiteY1" fmla="*/ 2133 h 3311913"/>
              <a:gd name="connsiteX2" fmla="*/ 1136078 w 2079421"/>
              <a:gd name="connsiteY2" fmla="*/ 23873 h 3311913"/>
              <a:gd name="connsiteX3" fmla="*/ 2079421 w 2079421"/>
              <a:gd name="connsiteY3" fmla="*/ 2528820 h 3311913"/>
              <a:gd name="connsiteX4" fmla="*/ 0 w 2079421"/>
              <a:gd name="connsiteY4" fmla="*/ 3311913 h 3311913"/>
              <a:gd name="connsiteX5" fmla="*/ 315575 w 2079421"/>
              <a:gd name="connsiteY5" fmla="*/ 502593 h 3311913"/>
              <a:gd name="connsiteX6" fmla="*/ 652994 w 2079421"/>
              <a:gd name="connsiteY6" fmla="*/ 40934 h 3311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9421" h="3311913">
                <a:moveTo>
                  <a:pt x="652994" y="40934"/>
                </a:moveTo>
                <a:cubicBezTo>
                  <a:pt x="801906" y="-13704"/>
                  <a:pt x="942900" y="2133"/>
                  <a:pt x="942900" y="2133"/>
                </a:cubicBezTo>
                <a:lnTo>
                  <a:pt x="1136078" y="23873"/>
                </a:lnTo>
                <a:lnTo>
                  <a:pt x="2079421" y="2528820"/>
                </a:lnTo>
                <a:lnTo>
                  <a:pt x="0" y="3311913"/>
                </a:lnTo>
                <a:lnTo>
                  <a:pt x="315575" y="502593"/>
                </a:lnTo>
                <a:cubicBezTo>
                  <a:pt x="347249" y="220688"/>
                  <a:pt x="504081" y="95573"/>
                  <a:pt x="652994" y="40934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48" name="Freihandform: Form 47">
            <a:extLst>
              <a:ext uri="{FF2B5EF4-FFF2-40B4-BE49-F238E27FC236}">
                <a16:creationId xmlns:a16="http://schemas.microsoft.com/office/drawing/2014/main" id="{7D085731-918A-4DCF-958E-BA8DA112D27C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 h 6858000"/>
              <a:gd name="connsiteX3" fmla="*/ 5707323 w 12192000"/>
              <a:gd name="connsiteY3" fmla="*/ 1 h 6858000"/>
              <a:gd name="connsiteX4" fmla="*/ 4938860 w 12192000"/>
              <a:gd name="connsiteY4" fmla="*/ 2177110 h 6858000"/>
              <a:gd name="connsiteX5" fmla="*/ 5655305 w 12192000"/>
              <a:gd name="connsiteY5" fmla="*/ 3675195 h 6858000"/>
              <a:gd name="connsiteX6" fmla="*/ 12192000 w 12192000"/>
              <a:gd name="connsiteY6" fmla="*/ 5982274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"/>
                </a:lnTo>
                <a:lnTo>
                  <a:pt x="5707323" y="1"/>
                </a:lnTo>
                <a:lnTo>
                  <a:pt x="4938860" y="2177110"/>
                </a:lnTo>
                <a:cubicBezTo>
                  <a:pt x="4938860" y="2177110"/>
                  <a:pt x="4548036" y="3284378"/>
                  <a:pt x="5655305" y="3675195"/>
                </a:cubicBezTo>
                <a:lnTo>
                  <a:pt x="12192000" y="5982274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DCB9"/>
          </a:solidFill>
          <a:ln w="9525" cap="flat" cmpd="sng" algn="ctr">
            <a:noFill/>
            <a:prstDash val="solid"/>
          </a:ln>
          <a:effectLst/>
        </p:spPr>
        <p:txBody>
          <a:bodyPr wrap="square" rtlCol="0" anchor="ctr" anchorCtr="0">
            <a:noAutofit/>
          </a:bodyPr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9C508460-DD80-4E96-B83F-CDD1198C6EB2}"/>
              </a:ext>
            </a:extLst>
          </p:cNvPr>
          <p:cNvSpPr/>
          <p:nvPr/>
        </p:nvSpPr>
        <p:spPr>
          <a:xfrm>
            <a:off x="1" y="3174287"/>
            <a:ext cx="4123641" cy="3683713"/>
          </a:xfrm>
          <a:custGeom>
            <a:avLst/>
            <a:gdLst>
              <a:gd name="connsiteX0" fmla="*/ 903040 w 4123641"/>
              <a:gd name="connsiteY0" fmla="*/ 6 h 3683713"/>
              <a:gd name="connsiteX1" fmla="*/ 1005228 w 4123641"/>
              <a:gd name="connsiteY1" fmla="*/ 4162 h 3683713"/>
              <a:gd name="connsiteX2" fmla="*/ 3144664 w 4123641"/>
              <a:gd name="connsiteY2" fmla="*/ 244780 h 3683713"/>
              <a:gd name="connsiteX3" fmla="*/ 4119480 w 4123641"/>
              <a:gd name="connsiteY3" fmla="*/ 1466755 h 3683713"/>
              <a:gd name="connsiteX4" fmla="*/ 3870239 w 4123641"/>
              <a:gd name="connsiteY4" fmla="*/ 3683713 h 3683713"/>
              <a:gd name="connsiteX5" fmla="*/ 0 w 4123641"/>
              <a:gd name="connsiteY5" fmla="*/ 3683713 h 3683713"/>
              <a:gd name="connsiteX6" fmla="*/ 0 w 4123641"/>
              <a:gd name="connsiteY6" fmla="*/ 400106 h 3683713"/>
              <a:gd name="connsiteX7" fmla="*/ 26287 w 4123641"/>
              <a:gd name="connsiteY7" fmla="*/ 363393 h 3683713"/>
              <a:gd name="connsiteX8" fmla="*/ 903040 w 4123641"/>
              <a:gd name="connsiteY8" fmla="*/ 6 h 368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23641" h="3683713">
                <a:moveTo>
                  <a:pt x="903040" y="6"/>
                </a:moveTo>
                <a:cubicBezTo>
                  <a:pt x="966609" y="-180"/>
                  <a:pt x="1005228" y="4162"/>
                  <a:pt x="1005228" y="4162"/>
                </a:cubicBezTo>
                <a:lnTo>
                  <a:pt x="3144664" y="244780"/>
                </a:lnTo>
                <a:cubicBezTo>
                  <a:pt x="4242964" y="368264"/>
                  <a:pt x="4119480" y="1466755"/>
                  <a:pt x="4119480" y="1466755"/>
                </a:cubicBezTo>
                <a:lnTo>
                  <a:pt x="3870239" y="3683713"/>
                </a:lnTo>
                <a:lnTo>
                  <a:pt x="0" y="3683713"/>
                </a:lnTo>
                <a:lnTo>
                  <a:pt x="0" y="400106"/>
                </a:lnTo>
                <a:lnTo>
                  <a:pt x="26287" y="363393"/>
                </a:lnTo>
                <a:cubicBezTo>
                  <a:pt x="297069" y="41872"/>
                  <a:pt x="712332" y="565"/>
                  <a:pt x="903040" y="6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240463" y="1484784"/>
            <a:ext cx="5327651" cy="136815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solidFill>
                  <a:schemeClr val="accent1"/>
                </a:solidFill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861048"/>
            <a:ext cx="3455987" cy="2231777"/>
          </a:xfrm>
          <a:prstGeom prst="rect">
            <a:avLst/>
          </a:prstGeom>
        </p:spPr>
        <p:txBody>
          <a:bodyPr wrap="none" anchor="b"/>
          <a:lstStyle>
            <a:lvl1pPr marL="0" indent="0">
              <a:buFont typeface="Arial" panose="020B0604020202020204" pitchFamily="34" charset="0"/>
              <a:buNone/>
              <a:defRPr sz="11500" b="0">
                <a:ln>
                  <a:noFill/>
                </a:ln>
                <a:solidFill>
                  <a:srgbClr val="FFDCB9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FB864900-953B-4536-BE68-A8465834EACD}"/>
              </a:ext>
            </a:extLst>
          </p:cNvPr>
          <p:cNvSpPr>
            <a:spLocks noEditPoints="1"/>
          </p:cNvSpPr>
          <p:nvPr/>
        </p:nvSpPr>
        <p:spPr bwMode="auto">
          <a:xfrm>
            <a:off x="10422509" y="6093296"/>
            <a:ext cx="1367855" cy="441875"/>
          </a:xfrm>
          <a:custGeom>
            <a:avLst/>
            <a:gdLst>
              <a:gd name="T0" fmla="*/ 13061 w 29098"/>
              <a:gd name="T1" fmla="*/ 9162 h 9411"/>
              <a:gd name="T2" fmla="*/ 11664 w 29098"/>
              <a:gd name="T3" fmla="*/ 7057 h 9411"/>
              <a:gd name="T4" fmla="*/ 11001 w 29098"/>
              <a:gd name="T5" fmla="*/ 6227 h 9411"/>
              <a:gd name="T6" fmla="*/ 10360 w 29098"/>
              <a:gd name="T7" fmla="*/ 9281 h 9411"/>
              <a:gd name="T8" fmla="*/ 9758 w 29098"/>
              <a:gd name="T9" fmla="*/ 8651 h 9411"/>
              <a:gd name="T10" fmla="*/ 12545 w 29098"/>
              <a:gd name="T11" fmla="*/ 5032 h 9411"/>
              <a:gd name="T12" fmla="*/ 13333 w 29098"/>
              <a:gd name="T13" fmla="*/ 7961 h 9411"/>
              <a:gd name="T14" fmla="*/ 7385 w 29098"/>
              <a:gd name="T15" fmla="*/ 8170 h 9411"/>
              <a:gd name="T16" fmla="*/ 6282 w 29098"/>
              <a:gd name="T17" fmla="*/ 6221 h 9411"/>
              <a:gd name="T18" fmla="*/ 7535 w 29098"/>
              <a:gd name="T19" fmla="*/ 6225 h 9411"/>
              <a:gd name="T20" fmla="*/ 7547 w 29098"/>
              <a:gd name="T21" fmla="*/ 7685 h 9411"/>
              <a:gd name="T22" fmla="*/ 8605 w 29098"/>
              <a:gd name="T23" fmla="*/ 5629 h 9411"/>
              <a:gd name="T24" fmla="*/ 4916 w 29098"/>
              <a:gd name="T25" fmla="*/ 6804 h 9411"/>
              <a:gd name="T26" fmla="*/ 9258 w 29098"/>
              <a:gd name="T27" fmla="*/ 9324 h 9411"/>
              <a:gd name="T28" fmla="*/ 4093 w 29098"/>
              <a:gd name="T29" fmla="*/ 2779 h 9411"/>
              <a:gd name="T30" fmla="*/ 1357 w 29098"/>
              <a:gd name="T31" fmla="*/ 1629 h 9411"/>
              <a:gd name="T32" fmla="*/ 4476 w 29098"/>
              <a:gd name="T33" fmla="*/ 688 h 9411"/>
              <a:gd name="T34" fmla="*/ 120 w 29098"/>
              <a:gd name="T35" fmla="*/ 2535 h 9411"/>
              <a:gd name="T36" fmla="*/ 4442 w 29098"/>
              <a:gd name="T37" fmla="*/ 4443 h 9411"/>
              <a:gd name="T38" fmla="*/ 2045 w 29098"/>
              <a:gd name="T39" fmla="*/ 3293 h 9411"/>
              <a:gd name="T40" fmla="*/ 18887 w 29098"/>
              <a:gd name="T41" fmla="*/ 3969 h 9411"/>
              <a:gd name="T42" fmla="*/ 16748 w 29098"/>
              <a:gd name="T43" fmla="*/ 0 h 9411"/>
              <a:gd name="T44" fmla="*/ 15563 w 29098"/>
              <a:gd name="T45" fmla="*/ 4443 h 9411"/>
              <a:gd name="T46" fmla="*/ 18186 w 29098"/>
              <a:gd name="T47" fmla="*/ 2614 h 9411"/>
              <a:gd name="T48" fmla="*/ 16265 w 29098"/>
              <a:gd name="T49" fmla="*/ 1355 h 9411"/>
              <a:gd name="T50" fmla="*/ 3542 w 29098"/>
              <a:gd name="T51" fmla="*/ 6292 h 9411"/>
              <a:gd name="T52" fmla="*/ 4417 w 29098"/>
              <a:gd name="T53" fmla="*/ 5517 h 9411"/>
              <a:gd name="T54" fmla="*/ 292 w 29098"/>
              <a:gd name="T55" fmla="*/ 5547 h 9411"/>
              <a:gd name="T56" fmla="*/ 2074 w 29098"/>
              <a:gd name="T57" fmla="*/ 7582 h 9411"/>
              <a:gd name="T58" fmla="*/ 2897 w 29098"/>
              <a:gd name="T59" fmla="*/ 8144 h 9411"/>
              <a:gd name="T60" fmla="*/ 810 w 29098"/>
              <a:gd name="T61" fmla="*/ 7799 h 9411"/>
              <a:gd name="T62" fmla="*/ 475 w 29098"/>
              <a:gd name="T63" fmla="*/ 8901 h 9411"/>
              <a:gd name="T64" fmla="*/ 4470 w 29098"/>
              <a:gd name="T65" fmla="*/ 9289 h 9411"/>
              <a:gd name="T66" fmla="*/ 3612 w 29098"/>
              <a:gd name="T67" fmla="*/ 6737 h 9411"/>
              <a:gd name="T68" fmla="*/ 2836 w 29098"/>
              <a:gd name="T69" fmla="*/ 5991 h 9411"/>
              <a:gd name="T70" fmla="*/ 15386 w 29098"/>
              <a:gd name="T71" fmla="*/ 8631 h 9411"/>
              <a:gd name="T72" fmla="*/ 18981 w 29098"/>
              <a:gd name="T73" fmla="*/ 8274 h 9411"/>
              <a:gd name="T74" fmla="*/ 16515 w 29098"/>
              <a:gd name="T75" fmla="*/ 4880 h 9411"/>
              <a:gd name="T76" fmla="*/ 17452 w 29098"/>
              <a:gd name="T77" fmla="*/ 6514 h 9411"/>
              <a:gd name="T78" fmla="*/ 16698 w 29098"/>
              <a:gd name="T79" fmla="*/ 8126 h 9411"/>
              <a:gd name="T80" fmla="*/ 20692 w 29098"/>
              <a:gd name="T81" fmla="*/ 5081 h 9411"/>
              <a:gd name="T82" fmla="*/ 19742 w 29098"/>
              <a:gd name="T83" fmla="*/ 9141 h 9411"/>
              <a:gd name="T84" fmla="*/ 22905 w 29098"/>
              <a:gd name="T85" fmla="*/ 9124 h 9411"/>
              <a:gd name="T86" fmla="*/ 23820 w 29098"/>
              <a:gd name="T87" fmla="*/ 5063 h 9411"/>
              <a:gd name="T88" fmla="*/ 22700 w 29098"/>
              <a:gd name="T89" fmla="*/ 6653 h 9411"/>
              <a:gd name="T90" fmla="*/ 24568 w 29098"/>
              <a:gd name="T91" fmla="*/ 5002 h 9411"/>
              <a:gd name="T92" fmla="*/ 27172 w 29098"/>
              <a:gd name="T93" fmla="*/ 9411 h 9411"/>
              <a:gd name="T94" fmla="*/ 28880 w 29098"/>
              <a:gd name="T95" fmla="*/ 6492 h 9411"/>
              <a:gd name="T96" fmla="*/ 25988 w 29098"/>
              <a:gd name="T97" fmla="*/ 6240 h 9411"/>
              <a:gd name="T98" fmla="*/ 27879 w 29098"/>
              <a:gd name="T99" fmla="*/ 7512 h 9411"/>
              <a:gd name="T100" fmla="*/ 25914 w 29098"/>
              <a:gd name="T101" fmla="*/ 7303 h 9411"/>
              <a:gd name="T102" fmla="*/ 12968 w 29098"/>
              <a:gd name="T103" fmla="*/ 1 h 9411"/>
              <a:gd name="T104" fmla="*/ 6769 w 29098"/>
              <a:gd name="T105" fmla="*/ 316 h 9411"/>
              <a:gd name="T106" fmla="*/ 5688 w 29098"/>
              <a:gd name="T107" fmla="*/ 4444 h 9411"/>
              <a:gd name="T108" fmla="*/ 6856 w 29098"/>
              <a:gd name="T109" fmla="*/ 2390 h 9411"/>
              <a:gd name="T110" fmla="*/ 13104 w 29098"/>
              <a:gd name="T111" fmla="*/ 3005 h 9411"/>
              <a:gd name="T112" fmla="*/ 14182 w 29098"/>
              <a:gd name="T113" fmla="*/ 4444 h 9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9098" h="9411">
                <a:moveTo>
                  <a:pt x="14591" y="8890"/>
                </a:moveTo>
                <a:cubicBezTo>
                  <a:pt x="14591" y="9198"/>
                  <a:pt x="14591" y="9198"/>
                  <a:pt x="14591" y="9198"/>
                </a:cubicBezTo>
                <a:cubicBezTo>
                  <a:pt x="14591" y="9279"/>
                  <a:pt x="14557" y="9324"/>
                  <a:pt x="14489" y="9324"/>
                </a:cubicBezTo>
                <a:cubicBezTo>
                  <a:pt x="13522" y="9323"/>
                  <a:pt x="13522" y="9323"/>
                  <a:pt x="13522" y="9323"/>
                </a:cubicBezTo>
                <a:cubicBezTo>
                  <a:pt x="13357" y="9323"/>
                  <a:pt x="13204" y="9266"/>
                  <a:pt x="13061" y="9162"/>
                </a:cubicBezTo>
                <a:cubicBezTo>
                  <a:pt x="13061" y="9162"/>
                  <a:pt x="11599" y="8009"/>
                  <a:pt x="11595" y="8005"/>
                </a:cubicBezTo>
                <a:cubicBezTo>
                  <a:pt x="11496" y="7918"/>
                  <a:pt x="11431" y="7774"/>
                  <a:pt x="11431" y="7610"/>
                </a:cubicBezTo>
                <a:cubicBezTo>
                  <a:pt x="11431" y="7609"/>
                  <a:pt x="11431" y="7134"/>
                  <a:pt x="11431" y="7134"/>
                </a:cubicBezTo>
                <a:cubicBezTo>
                  <a:pt x="11431" y="7053"/>
                  <a:pt x="11456" y="7013"/>
                  <a:pt x="11508" y="7013"/>
                </a:cubicBezTo>
                <a:cubicBezTo>
                  <a:pt x="11559" y="7013"/>
                  <a:pt x="11629" y="7046"/>
                  <a:pt x="11664" y="7057"/>
                </a:cubicBezTo>
                <a:cubicBezTo>
                  <a:pt x="11739" y="7084"/>
                  <a:pt x="11834" y="7110"/>
                  <a:pt x="11840" y="7111"/>
                </a:cubicBezTo>
                <a:cubicBezTo>
                  <a:pt x="11992" y="7160"/>
                  <a:pt x="12140" y="7185"/>
                  <a:pt x="12284" y="7185"/>
                </a:cubicBezTo>
                <a:cubicBezTo>
                  <a:pt x="12587" y="7185"/>
                  <a:pt x="12829" y="7051"/>
                  <a:pt x="12905" y="6835"/>
                </a:cubicBezTo>
                <a:cubicBezTo>
                  <a:pt x="12975" y="6636"/>
                  <a:pt x="12778" y="6174"/>
                  <a:pt x="12107" y="6005"/>
                </a:cubicBezTo>
                <a:cubicBezTo>
                  <a:pt x="11604" y="5877"/>
                  <a:pt x="11137" y="5976"/>
                  <a:pt x="11001" y="6227"/>
                </a:cubicBezTo>
                <a:cubicBezTo>
                  <a:pt x="11001" y="6227"/>
                  <a:pt x="10980" y="6266"/>
                  <a:pt x="10968" y="6306"/>
                </a:cubicBezTo>
                <a:cubicBezTo>
                  <a:pt x="10956" y="6345"/>
                  <a:pt x="10953" y="6404"/>
                  <a:pt x="10953" y="6427"/>
                </a:cubicBezTo>
                <a:cubicBezTo>
                  <a:pt x="10953" y="6427"/>
                  <a:pt x="10953" y="8221"/>
                  <a:pt x="10953" y="8246"/>
                </a:cubicBezTo>
                <a:cubicBezTo>
                  <a:pt x="10953" y="8519"/>
                  <a:pt x="10911" y="8773"/>
                  <a:pt x="10741" y="8996"/>
                </a:cubicBezTo>
                <a:cubicBezTo>
                  <a:pt x="10644" y="9125"/>
                  <a:pt x="10513" y="9231"/>
                  <a:pt x="10360" y="9281"/>
                </a:cubicBezTo>
                <a:cubicBezTo>
                  <a:pt x="10262" y="9312"/>
                  <a:pt x="10152" y="9324"/>
                  <a:pt x="10051" y="9324"/>
                </a:cubicBezTo>
                <a:cubicBezTo>
                  <a:pt x="9980" y="9324"/>
                  <a:pt x="9856" y="9320"/>
                  <a:pt x="9800" y="9290"/>
                </a:cubicBezTo>
                <a:cubicBezTo>
                  <a:pt x="9758" y="9267"/>
                  <a:pt x="9758" y="9222"/>
                  <a:pt x="9758" y="9180"/>
                </a:cubicBezTo>
                <a:cubicBezTo>
                  <a:pt x="9758" y="8881"/>
                  <a:pt x="9758" y="8881"/>
                  <a:pt x="9758" y="8881"/>
                </a:cubicBezTo>
                <a:cubicBezTo>
                  <a:pt x="9758" y="8651"/>
                  <a:pt x="9758" y="8651"/>
                  <a:pt x="9758" y="8651"/>
                </a:cubicBezTo>
                <a:cubicBezTo>
                  <a:pt x="9758" y="7985"/>
                  <a:pt x="9758" y="7985"/>
                  <a:pt x="9758" y="7985"/>
                </a:cubicBezTo>
                <a:cubicBezTo>
                  <a:pt x="9758" y="7985"/>
                  <a:pt x="9758" y="4984"/>
                  <a:pt x="9758" y="4977"/>
                </a:cubicBezTo>
                <a:cubicBezTo>
                  <a:pt x="9758" y="4924"/>
                  <a:pt x="9801" y="4880"/>
                  <a:pt x="9855" y="4880"/>
                </a:cubicBezTo>
                <a:cubicBezTo>
                  <a:pt x="9858" y="4880"/>
                  <a:pt x="11649" y="4880"/>
                  <a:pt x="11649" y="4880"/>
                </a:cubicBezTo>
                <a:cubicBezTo>
                  <a:pt x="11945" y="4880"/>
                  <a:pt x="12240" y="4931"/>
                  <a:pt x="12545" y="5032"/>
                </a:cubicBezTo>
                <a:cubicBezTo>
                  <a:pt x="12849" y="5134"/>
                  <a:pt x="13124" y="5271"/>
                  <a:pt x="13368" y="5445"/>
                </a:cubicBezTo>
                <a:cubicBezTo>
                  <a:pt x="13613" y="5619"/>
                  <a:pt x="13812" y="5824"/>
                  <a:pt x="13966" y="6059"/>
                </a:cubicBezTo>
                <a:cubicBezTo>
                  <a:pt x="14120" y="6294"/>
                  <a:pt x="14196" y="6545"/>
                  <a:pt x="14196" y="6812"/>
                </a:cubicBezTo>
                <a:cubicBezTo>
                  <a:pt x="14196" y="7096"/>
                  <a:pt x="14111" y="7323"/>
                  <a:pt x="13953" y="7504"/>
                </a:cubicBezTo>
                <a:cubicBezTo>
                  <a:pt x="13699" y="7795"/>
                  <a:pt x="13419" y="7907"/>
                  <a:pt x="13333" y="7961"/>
                </a:cubicBezTo>
                <a:cubicBezTo>
                  <a:pt x="13409" y="8021"/>
                  <a:pt x="13586" y="8161"/>
                  <a:pt x="13825" y="8350"/>
                </a:cubicBezTo>
                <a:cubicBezTo>
                  <a:pt x="14287" y="8715"/>
                  <a:pt x="14521" y="8780"/>
                  <a:pt x="14522" y="8780"/>
                </a:cubicBezTo>
                <a:cubicBezTo>
                  <a:pt x="14554" y="8793"/>
                  <a:pt x="14591" y="8842"/>
                  <a:pt x="14591" y="8890"/>
                </a:cubicBezTo>
                <a:close/>
                <a:moveTo>
                  <a:pt x="8674" y="8170"/>
                </a:moveTo>
                <a:cubicBezTo>
                  <a:pt x="7385" y="8170"/>
                  <a:pt x="7385" y="8170"/>
                  <a:pt x="7385" y="8170"/>
                </a:cubicBezTo>
                <a:cubicBezTo>
                  <a:pt x="7201" y="8170"/>
                  <a:pt x="7035" y="8122"/>
                  <a:pt x="6873" y="8053"/>
                </a:cubicBezTo>
                <a:cubicBezTo>
                  <a:pt x="6734" y="7994"/>
                  <a:pt x="6522" y="7809"/>
                  <a:pt x="6459" y="7739"/>
                </a:cubicBezTo>
                <a:cubicBezTo>
                  <a:pt x="6341" y="7609"/>
                  <a:pt x="6249" y="7458"/>
                  <a:pt x="6183" y="7287"/>
                </a:cubicBezTo>
                <a:cubicBezTo>
                  <a:pt x="6117" y="7116"/>
                  <a:pt x="6084" y="6940"/>
                  <a:pt x="6084" y="6760"/>
                </a:cubicBezTo>
                <a:cubicBezTo>
                  <a:pt x="6084" y="6529"/>
                  <a:pt x="6150" y="6349"/>
                  <a:pt x="6282" y="6221"/>
                </a:cubicBezTo>
                <a:cubicBezTo>
                  <a:pt x="6298" y="6206"/>
                  <a:pt x="6355" y="6158"/>
                  <a:pt x="6421" y="6119"/>
                </a:cubicBezTo>
                <a:cubicBezTo>
                  <a:pt x="6487" y="6081"/>
                  <a:pt x="6559" y="6061"/>
                  <a:pt x="6607" y="6051"/>
                </a:cubicBezTo>
                <a:cubicBezTo>
                  <a:pt x="6684" y="6033"/>
                  <a:pt x="6768" y="6022"/>
                  <a:pt x="6858" y="6022"/>
                </a:cubicBezTo>
                <a:cubicBezTo>
                  <a:pt x="6947" y="6022"/>
                  <a:pt x="7032" y="6033"/>
                  <a:pt x="7108" y="6051"/>
                </a:cubicBezTo>
                <a:cubicBezTo>
                  <a:pt x="7253" y="6079"/>
                  <a:pt x="7396" y="6137"/>
                  <a:pt x="7535" y="6225"/>
                </a:cubicBezTo>
                <a:cubicBezTo>
                  <a:pt x="7737" y="6352"/>
                  <a:pt x="7949" y="6546"/>
                  <a:pt x="8092" y="6732"/>
                </a:cubicBezTo>
                <a:cubicBezTo>
                  <a:pt x="6751" y="6732"/>
                  <a:pt x="6751" y="6732"/>
                  <a:pt x="6751" y="6732"/>
                </a:cubicBezTo>
                <a:cubicBezTo>
                  <a:pt x="6671" y="6732"/>
                  <a:pt x="6631" y="6767"/>
                  <a:pt x="6631" y="6837"/>
                </a:cubicBezTo>
                <a:cubicBezTo>
                  <a:pt x="6631" y="6976"/>
                  <a:pt x="6652" y="7066"/>
                  <a:pt x="6706" y="7178"/>
                </a:cubicBezTo>
                <a:cubicBezTo>
                  <a:pt x="6761" y="7291"/>
                  <a:pt x="7019" y="7685"/>
                  <a:pt x="7547" y="7685"/>
                </a:cubicBezTo>
                <a:cubicBezTo>
                  <a:pt x="8795" y="7686"/>
                  <a:pt x="8795" y="7686"/>
                  <a:pt x="8795" y="7686"/>
                </a:cubicBezTo>
                <a:cubicBezTo>
                  <a:pt x="9013" y="7686"/>
                  <a:pt x="9164" y="7628"/>
                  <a:pt x="9247" y="7512"/>
                </a:cubicBezTo>
                <a:cubicBezTo>
                  <a:pt x="9331" y="7396"/>
                  <a:pt x="9355" y="7296"/>
                  <a:pt x="9355" y="7139"/>
                </a:cubicBezTo>
                <a:cubicBezTo>
                  <a:pt x="9355" y="6884"/>
                  <a:pt x="9287" y="6634"/>
                  <a:pt x="9152" y="6365"/>
                </a:cubicBezTo>
                <a:cubicBezTo>
                  <a:pt x="9017" y="6095"/>
                  <a:pt x="8834" y="5850"/>
                  <a:pt x="8605" y="5629"/>
                </a:cubicBezTo>
                <a:cubicBezTo>
                  <a:pt x="8375" y="5409"/>
                  <a:pt x="8108" y="5229"/>
                  <a:pt x="7803" y="5090"/>
                </a:cubicBezTo>
                <a:cubicBezTo>
                  <a:pt x="7498" y="4951"/>
                  <a:pt x="7180" y="4880"/>
                  <a:pt x="6847" y="4880"/>
                </a:cubicBezTo>
                <a:cubicBezTo>
                  <a:pt x="6847" y="4880"/>
                  <a:pt x="5015" y="4880"/>
                  <a:pt x="5013" y="4880"/>
                </a:cubicBezTo>
                <a:cubicBezTo>
                  <a:pt x="4960" y="4880"/>
                  <a:pt x="4916" y="4924"/>
                  <a:pt x="4916" y="4977"/>
                </a:cubicBezTo>
                <a:cubicBezTo>
                  <a:pt x="4916" y="4985"/>
                  <a:pt x="4916" y="6804"/>
                  <a:pt x="4916" y="6804"/>
                </a:cubicBezTo>
                <a:cubicBezTo>
                  <a:pt x="4916" y="7146"/>
                  <a:pt x="4982" y="7470"/>
                  <a:pt x="5114" y="7774"/>
                </a:cubicBezTo>
                <a:cubicBezTo>
                  <a:pt x="5246" y="8079"/>
                  <a:pt x="5426" y="8346"/>
                  <a:pt x="5653" y="8575"/>
                </a:cubicBezTo>
                <a:cubicBezTo>
                  <a:pt x="5880" y="8804"/>
                  <a:pt x="6144" y="8985"/>
                  <a:pt x="6446" y="9119"/>
                </a:cubicBezTo>
                <a:cubicBezTo>
                  <a:pt x="6748" y="9252"/>
                  <a:pt x="7072" y="9324"/>
                  <a:pt x="7417" y="9324"/>
                </a:cubicBezTo>
                <a:cubicBezTo>
                  <a:pt x="9258" y="9324"/>
                  <a:pt x="9258" y="9324"/>
                  <a:pt x="9258" y="9324"/>
                </a:cubicBezTo>
                <a:cubicBezTo>
                  <a:pt x="9311" y="9324"/>
                  <a:pt x="9355" y="9281"/>
                  <a:pt x="9355" y="9228"/>
                </a:cubicBezTo>
                <a:cubicBezTo>
                  <a:pt x="9355" y="8858"/>
                  <a:pt x="9355" y="8858"/>
                  <a:pt x="9355" y="8858"/>
                </a:cubicBezTo>
                <a:cubicBezTo>
                  <a:pt x="9355" y="8643"/>
                  <a:pt x="9294" y="8475"/>
                  <a:pt x="9173" y="8353"/>
                </a:cubicBezTo>
                <a:cubicBezTo>
                  <a:pt x="9053" y="8231"/>
                  <a:pt x="8886" y="8170"/>
                  <a:pt x="8674" y="8170"/>
                </a:cubicBezTo>
                <a:close/>
                <a:moveTo>
                  <a:pt x="4093" y="2779"/>
                </a:moveTo>
                <a:cubicBezTo>
                  <a:pt x="4174" y="2779"/>
                  <a:pt x="4215" y="2744"/>
                  <a:pt x="4215" y="2675"/>
                </a:cubicBezTo>
                <a:cubicBezTo>
                  <a:pt x="4215" y="2317"/>
                  <a:pt x="4215" y="2317"/>
                  <a:pt x="4215" y="2317"/>
                </a:cubicBezTo>
                <a:cubicBezTo>
                  <a:pt x="4215" y="2103"/>
                  <a:pt x="4154" y="1934"/>
                  <a:pt x="4032" y="1812"/>
                </a:cubicBezTo>
                <a:cubicBezTo>
                  <a:pt x="3910" y="1690"/>
                  <a:pt x="3741" y="1629"/>
                  <a:pt x="3526" y="1629"/>
                </a:cubicBezTo>
                <a:cubicBezTo>
                  <a:pt x="1357" y="1629"/>
                  <a:pt x="1357" y="1629"/>
                  <a:pt x="1357" y="1629"/>
                </a:cubicBezTo>
                <a:cubicBezTo>
                  <a:pt x="1392" y="1484"/>
                  <a:pt x="1466" y="1368"/>
                  <a:pt x="1579" y="1281"/>
                </a:cubicBezTo>
                <a:cubicBezTo>
                  <a:pt x="1692" y="1194"/>
                  <a:pt x="1842" y="1150"/>
                  <a:pt x="2028" y="1150"/>
                </a:cubicBezTo>
                <a:cubicBezTo>
                  <a:pt x="4354" y="1150"/>
                  <a:pt x="4354" y="1150"/>
                  <a:pt x="4354" y="1150"/>
                </a:cubicBezTo>
                <a:cubicBezTo>
                  <a:pt x="4435" y="1150"/>
                  <a:pt x="4476" y="1115"/>
                  <a:pt x="4476" y="1045"/>
                </a:cubicBezTo>
                <a:cubicBezTo>
                  <a:pt x="4476" y="688"/>
                  <a:pt x="4476" y="688"/>
                  <a:pt x="4476" y="688"/>
                </a:cubicBezTo>
                <a:cubicBezTo>
                  <a:pt x="4476" y="473"/>
                  <a:pt x="4416" y="305"/>
                  <a:pt x="4293" y="183"/>
                </a:cubicBezTo>
                <a:cubicBezTo>
                  <a:pt x="4171" y="61"/>
                  <a:pt x="4003" y="0"/>
                  <a:pt x="3788" y="0"/>
                </a:cubicBezTo>
                <a:cubicBezTo>
                  <a:pt x="224" y="0"/>
                  <a:pt x="224" y="0"/>
                  <a:pt x="224" y="0"/>
                </a:cubicBezTo>
                <a:cubicBezTo>
                  <a:pt x="154" y="0"/>
                  <a:pt x="120" y="41"/>
                  <a:pt x="120" y="122"/>
                </a:cubicBezTo>
                <a:cubicBezTo>
                  <a:pt x="120" y="2535"/>
                  <a:pt x="120" y="2535"/>
                  <a:pt x="120" y="2535"/>
                </a:cubicBezTo>
                <a:cubicBezTo>
                  <a:pt x="120" y="2808"/>
                  <a:pt x="169" y="3063"/>
                  <a:pt x="268" y="3297"/>
                </a:cubicBezTo>
                <a:cubicBezTo>
                  <a:pt x="367" y="3533"/>
                  <a:pt x="504" y="3735"/>
                  <a:pt x="682" y="3903"/>
                </a:cubicBezTo>
                <a:cubicBezTo>
                  <a:pt x="859" y="4072"/>
                  <a:pt x="1071" y="4204"/>
                  <a:pt x="1318" y="4299"/>
                </a:cubicBezTo>
                <a:cubicBezTo>
                  <a:pt x="1565" y="4396"/>
                  <a:pt x="1833" y="4443"/>
                  <a:pt x="2124" y="4443"/>
                </a:cubicBezTo>
                <a:cubicBezTo>
                  <a:pt x="4442" y="4443"/>
                  <a:pt x="4442" y="4443"/>
                  <a:pt x="4442" y="4443"/>
                </a:cubicBezTo>
                <a:cubicBezTo>
                  <a:pt x="4523" y="4443"/>
                  <a:pt x="4563" y="4408"/>
                  <a:pt x="4563" y="4339"/>
                </a:cubicBezTo>
                <a:cubicBezTo>
                  <a:pt x="4563" y="3982"/>
                  <a:pt x="4563" y="3982"/>
                  <a:pt x="4563" y="3982"/>
                </a:cubicBezTo>
                <a:cubicBezTo>
                  <a:pt x="4563" y="3767"/>
                  <a:pt x="4502" y="3598"/>
                  <a:pt x="4380" y="3476"/>
                </a:cubicBezTo>
                <a:cubicBezTo>
                  <a:pt x="4259" y="3354"/>
                  <a:pt x="4090" y="3293"/>
                  <a:pt x="3875" y="3293"/>
                </a:cubicBezTo>
                <a:cubicBezTo>
                  <a:pt x="2045" y="3293"/>
                  <a:pt x="2045" y="3293"/>
                  <a:pt x="2045" y="3293"/>
                </a:cubicBezTo>
                <a:cubicBezTo>
                  <a:pt x="1871" y="3293"/>
                  <a:pt x="1723" y="3245"/>
                  <a:pt x="1601" y="3149"/>
                </a:cubicBezTo>
                <a:cubicBezTo>
                  <a:pt x="1479" y="3054"/>
                  <a:pt x="1398" y="2930"/>
                  <a:pt x="1357" y="2779"/>
                </a:cubicBezTo>
                <a:lnTo>
                  <a:pt x="4093" y="2779"/>
                </a:lnTo>
                <a:close/>
                <a:moveTo>
                  <a:pt x="17445" y="4443"/>
                </a:moveTo>
                <a:cubicBezTo>
                  <a:pt x="18061" y="4443"/>
                  <a:pt x="18541" y="4285"/>
                  <a:pt x="18887" y="3969"/>
                </a:cubicBezTo>
                <a:cubicBezTo>
                  <a:pt x="19233" y="3652"/>
                  <a:pt x="19406" y="3186"/>
                  <a:pt x="19406" y="2570"/>
                </a:cubicBezTo>
                <a:cubicBezTo>
                  <a:pt x="19406" y="2216"/>
                  <a:pt x="19332" y="1882"/>
                  <a:pt x="19183" y="1568"/>
                </a:cubicBezTo>
                <a:cubicBezTo>
                  <a:pt x="19036" y="1254"/>
                  <a:pt x="18838" y="981"/>
                  <a:pt x="18591" y="749"/>
                </a:cubicBezTo>
                <a:cubicBezTo>
                  <a:pt x="18344" y="517"/>
                  <a:pt x="18061" y="334"/>
                  <a:pt x="17741" y="200"/>
                </a:cubicBezTo>
                <a:cubicBezTo>
                  <a:pt x="17422" y="67"/>
                  <a:pt x="17091" y="0"/>
                  <a:pt x="16748" y="0"/>
                </a:cubicBezTo>
                <a:cubicBezTo>
                  <a:pt x="14980" y="0"/>
                  <a:pt x="14980" y="0"/>
                  <a:pt x="14980" y="0"/>
                </a:cubicBezTo>
                <a:cubicBezTo>
                  <a:pt x="14910" y="0"/>
                  <a:pt x="14875" y="41"/>
                  <a:pt x="14875" y="122"/>
                </a:cubicBezTo>
                <a:cubicBezTo>
                  <a:pt x="14875" y="3755"/>
                  <a:pt x="14875" y="3755"/>
                  <a:pt x="14875" y="3755"/>
                </a:cubicBezTo>
                <a:cubicBezTo>
                  <a:pt x="14875" y="3970"/>
                  <a:pt x="14936" y="4139"/>
                  <a:pt x="15058" y="4260"/>
                </a:cubicBezTo>
                <a:cubicBezTo>
                  <a:pt x="15180" y="4382"/>
                  <a:pt x="15349" y="4443"/>
                  <a:pt x="15563" y="4443"/>
                </a:cubicBezTo>
                <a:lnTo>
                  <a:pt x="17445" y="4443"/>
                </a:lnTo>
                <a:close/>
                <a:moveTo>
                  <a:pt x="17258" y="1276"/>
                </a:moveTo>
                <a:cubicBezTo>
                  <a:pt x="17429" y="1361"/>
                  <a:pt x="17583" y="1472"/>
                  <a:pt x="17720" y="1612"/>
                </a:cubicBezTo>
                <a:cubicBezTo>
                  <a:pt x="17856" y="1751"/>
                  <a:pt x="17968" y="1908"/>
                  <a:pt x="18055" y="2082"/>
                </a:cubicBezTo>
                <a:cubicBezTo>
                  <a:pt x="18142" y="2257"/>
                  <a:pt x="18186" y="2434"/>
                  <a:pt x="18186" y="2614"/>
                </a:cubicBezTo>
                <a:cubicBezTo>
                  <a:pt x="18186" y="2828"/>
                  <a:pt x="18115" y="2996"/>
                  <a:pt x="17973" y="3115"/>
                </a:cubicBezTo>
                <a:cubicBezTo>
                  <a:pt x="17830" y="3234"/>
                  <a:pt x="17657" y="3293"/>
                  <a:pt x="17454" y="3293"/>
                </a:cubicBezTo>
                <a:cubicBezTo>
                  <a:pt x="16095" y="3293"/>
                  <a:pt x="16095" y="3293"/>
                  <a:pt x="16095" y="3293"/>
                </a:cubicBezTo>
                <a:cubicBezTo>
                  <a:pt x="16095" y="1882"/>
                  <a:pt x="16095" y="1882"/>
                  <a:pt x="16095" y="1882"/>
                </a:cubicBezTo>
                <a:cubicBezTo>
                  <a:pt x="16095" y="1667"/>
                  <a:pt x="16151" y="1491"/>
                  <a:pt x="16265" y="1355"/>
                </a:cubicBezTo>
                <a:cubicBezTo>
                  <a:pt x="16378" y="1218"/>
                  <a:pt x="16536" y="1150"/>
                  <a:pt x="16739" y="1150"/>
                </a:cubicBezTo>
                <a:cubicBezTo>
                  <a:pt x="16914" y="1150"/>
                  <a:pt x="17087" y="1192"/>
                  <a:pt x="17258" y="1276"/>
                </a:cubicBezTo>
                <a:close/>
                <a:moveTo>
                  <a:pt x="2836" y="5991"/>
                </a:moveTo>
                <a:cubicBezTo>
                  <a:pt x="3042" y="6047"/>
                  <a:pt x="3221" y="6117"/>
                  <a:pt x="3372" y="6205"/>
                </a:cubicBezTo>
                <a:cubicBezTo>
                  <a:pt x="3447" y="6252"/>
                  <a:pt x="3504" y="6280"/>
                  <a:pt x="3542" y="6292"/>
                </a:cubicBezTo>
                <a:cubicBezTo>
                  <a:pt x="3579" y="6304"/>
                  <a:pt x="3621" y="6309"/>
                  <a:pt x="3668" y="6309"/>
                </a:cubicBezTo>
                <a:cubicBezTo>
                  <a:pt x="3773" y="6309"/>
                  <a:pt x="3883" y="6252"/>
                  <a:pt x="3999" y="6135"/>
                </a:cubicBezTo>
                <a:cubicBezTo>
                  <a:pt x="4443" y="5673"/>
                  <a:pt x="4443" y="5673"/>
                  <a:pt x="4443" y="5673"/>
                </a:cubicBezTo>
                <a:cubicBezTo>
                  <a:pt x="4461" y="5656"/>
                  <a:pt x="4470" y="5636"/>
                  <a:pt x="4470" y="5613"/>
                </a:cubicBezTo>
                <a:cubicBezTo>
                  <a:pt x="4470" y="5583"/>
                  <a:pt x="4452" y="5551"/>
                  <a:pt x="4417" y="5517"/>
                </a:cubicBezTo>
                <a:cubicBezTo>
                  <a:pt x="4168" y="5290"/>
                  <a:pt x="3844" y="5113"/>
                  <a:pt x="3446" y="4985"/>
                </a:cubicBezTo>
                <a:cubicBezTo>
                  <a:pt x="3048" y="4858"/>
                  <a:pt x="2628" y="4794"/>
                  <a:pt x="2187" y="4794"/>
                </a:cubicBezTo>
                <a:cubicBezTo>
                  <a:pt x="1913" y="4794"/>
                  <a:pt x="1654" y="4819"/>
                  <a:pt x="1407" y="4872"/>
                </a:cubicBezTo>
                <a:cubicBezTo>
                  <a:pt x="1160" y="4924"/>
                  <a:pt x="941" y="5006"/>
                  <a:pt x="749" y="5116"/>
                </a:cubicBezTo>
                <a:cubicBezTo>
                  <a:pt x="558" y="5226"/>
                  <a:pt x="405" y="5370"/>
                  <a:pt x="292" y="5547"/>
                </a:cubicBezTo>
                <a:cubicBezTo>
                  <a:pt x="178" y="5724"/>
                  <a:pt x="122" y="5938"/>
                  <a:pt x="122" y="6188"/>
                </a:cubicBezTo>
                <a:cubicBezTo>
                  <a:pt x="122" y="6408"/>
                  <a:pt x="171" y="6597"/>
                  <a:pt x="270" y="6754"/>
                </a:cubicBezTo>
                <a:cubicBezTo>
                  <a:pt x="369" y="6911"/>
                  <a:pt x="505" y="7044"/>
                  <a:pt x="679" y="7154"/>
                </a:cubicBezTo>
                <a:cubicBezTo>
                  <a:pt x="854" y="7265"/>
                  <a:pt x="1060" y="7353"/>
                  <a:pt x="1298" y="7420"/>
                </a:cubicBezTo>
                <a:cubicBezTo>
                  <a:pt x="1536" y="7487"/>
                  <a:pt x="1795" y="7541"/>
                  <a:pt x="2074" y="7582"/>
                </a:cubicBezTo>
                <a:cubicBezTo>
                  <a:pt x="2277" y="7611"/>
                  <a:pt x="2442" y="7638"/>
                  <a:pt x="2570" y="7664"/>
                </a:cubicBezTo>
                <a:cubicBezTo>
                  <a:pt x="2698" y="7691"/>
                  <a:pt x="2800" y="7717"/>
                  <a:pt x="2875" y="7743"/>
                </a:cubicBezTo>
                <a:cubicBezTo>
                  <a:pt x="2950" y="7769"/>
                  <a:pt x="3002" y="7798"/>
                  <a:pt x="3028" y="7830"/>
                </a:cubicBezTo>
                <a:cubicBezTo>
                  <a:pt x="3054" y="7862"/>
                  <a:pt x="3067" y="7901"/>
                  <a:pt x="3067" y="7947"/>
                </a:cubicBezTo>
                <a:cubicBezTo>
                  <a:pt x="3067" y="8040"/>
                  <a:pt x="3010" y="8106"/>
                  <a:pt x="2897" y="8144"/>
                </a:cubicBezTo>
                <a:cubicBezTo>
                  <a:pt x="2784" y="8181"/>
                  <a:pt x="2634" y="8200"/>
                  <a:pt x="2448" y="8200"/>
                </a:cubicBezTo>
                <a:cubicBezTo>
                  <a:pt x="2140" y="8200"/>
                  <a:pt x="1879" y="8174"/>
                  <a:pt x="1664" y="8122"/>
                </a:cubicBezTo>
                <a:cubicBezTo>
                  <a:pt x="1449" y="8069"/>
                  <a:pt x="1263" y="7997"/>
                  <a:pt x="1106" y="7904"/>
                </a:cubicBezTo>
                <a:cubicBezTo>
                  <a:pt x="1031" y="7858"/>
                  <a:pt x="974" y="7829"/>
                  <a:pt x="937" y="7817"/>
                </a:cubicBezTo>
                <a:cubicBezTo>
                  <a:pt x="899" y="7805"/>
                  <a:pt x="857" y="7799"/>
                  <a:pt x="810" y="7799"/>
                </a:cubicBezTo>
                <a:cubicBezTo>
                  <a:pt x="705" y="7799"/>
                  <a:pt x="595" y="7858"/>
                  <a:pt x="479" y="7973"/>
                </a:cubicBezTo>
                <a:cubicBezTo>
                  <a:pt x="26" y="8444"/>
                  <a:pt x="26" y="8444"/>
                  <a:pt x="26" y="8444"/>
                </a:cubicBezTo>
                <a:cubicBezTo>
                  <a:pt x="9" y="8462"/>
                  <a:pt x="0" y="8482"/>
                  <a:pt x="0" y="8505"/>
                </a:cubicBezTo>
                <a:cubicBezTo>
                  <a:pt x="0" y="8534"/>
                  <a:pt x="17" y="8566"/>
                  <a:pt x="52" y="8601"/>
                </a:cubicBezTo>
                <a:cubicBezTo>
                  <a:pt x="163" y="8711"/>
                  <a:pt x="303" y="8812"/>
                  <a:pt x="475" y="8901"/>
                </a:cubicBezTo>
                <a:cubicBezTo>
                  <a:pt x="646" y="8991"/>
                  <a:pt x="840" y="9067"/>
                  <a:pt x="1059" y="9128"/>
                </a:cubicBezTo>
                <a:cubicBezTo>
                  <a:pt x="1277" y="9189"/>
                  <a:pt x="1513" y="9237"/>
                  <a:pt x="1769" y="9272"/>
                </a:cubicBezTo>
                <a:cubicBezTo>
                  <a:pt x="2024" y="9307"/>
                  <a:pt x="2292" y="9324"/>
                  <a:pt x="2570" y="9324"/>
                </a:cubicBezTo>
                <a:cubicBezTo>
                  <a:pt x="4409" y="9324"/>
                  <a:pt x="4409" y="9324"/>
                  <a:pt x="4409" y="9324"/>
                </a:cubicBezTo>
                <a:cubicBezTo>
                  <a:pt x="4438" y="9324"/>
                  <a:pt x="4458" y="9313"/>
                  <a:pt x="4470" y="9289"/>
                </a:cubicBezTo>
                <a:cubicBezTo>
                  <a:pt x="4475" y="9278"/>
                  <a:pt x="4478" y="9263"/>
                  <a:pt x="4478" y="9245"/>
                </a:cubicBezTo>
                <a:cubicBezTo>
                  <a:pt x="4478" y="8226"/>
                  <a:pt x="4478" y="8226"/>
                  <a:pt x="4478" y="8226"/>
                </a:cubicBezTo>
                <a:cubicBezTo>
                  <a:pt x="4478" y="7930"/>
                  <a:pt x="4443" y="7685"/>
                  <a:pt x="4374" y="7490"/>
                </a:cubicBezTo>
                <a:cubicBezTo>
                  <a:pt x="4304" y="7296"/>
                  <a:pt x="4205" y="7137"/>
                  <a:pt x="4077" y="7015"/>
                </a:cubicBezTo>
                <a:cubicBezTo>
                  <a:pt x="3950" y="6893"/>
                  <a:pt x="3795" y="6801"/>
                  <a:pt x="3612" y="6737"/>
                </a:cubicBezTo>
                <a:cubicBezTo>
                  <a:pt x="3429" y="6673"/>
                  <a:pt x="3224" y="6623"/>
                  <a:pt x="2997" y="6588"/>
                </a:cubicBezTo>
                <a:cubicBezTo>
                  <a:pt x="2527" y="6518"/>
                  <a:pt x="2155" y="6455"/>
                  <a:pt x="1882" y="6396"/>
                </a:cubicBezTo>
                <a:cubicBezTo>
                  <a:pt x="1609" y="6339"/>
                  <a:pt x="1473" y="6254"/>
                  <a:pt x="1473" y="6144"/>
                </a:cubicBezTo>
                <a:cubicBezTo>
                  <a:pt x="1473" y="5987"/>
                  <a:pt x="1693" y="5909"/>
                  <a:pt x="2135" y="5909"/>
                </a:cubicBezTo>
                <a:cubicBezTo>
                  <a:pt x="2396" y="5909"/>
                  <a:pt x="2630" y="5936"/>
                  <a:pt x="2836" y="5991"/>
                </a:cubicBezTo>
                <a:close/>
                <a:moveTo>
                  <a:pt x="14694" y="4880"/>
                </a:moveTo>
                <a:cubicBezTo>
                  <a:pt x="14624" y="4880"/>
                  <a:pt x="14589" y="4921"/>
                  <a:pt x="14589" y="5002"/>
                </a:cubicBezTo>
                <a:cubicBezTo>
                  <a:pt x="14589" y="6806"/>
                  <a:pt x="14589" y="6806"/>
                  <a:pt x="14589" y="6806"/>
                </a:cubicBezTo>
                <a:cubicBezTo>
                  <a:pt x="14589" y="7154"/>
                  <a:pt x="14662" y="7486"/>
                  <a:pt x="14808" y="7799"/>
                </a:cubicBezTo>
                <a:cubicBezTo>
                  <a:pt x="14953" y="8113"/>
                  <a:pt x="15145" y="8390"/>
                  <a:pt x="15386" y="8631"/>
                </a:cubicBezTo>
                <a:cubicBezTo>
                  <a:pt x="15628" y="8872"/>
                  <a:pt x="15905" y="9062"/>
                  <a:pt x="16219" y="9202"/>
                </a:cubicBezTo>
                <a:cubicBezTo>
                  <a:pt x="16532" y="9342"/>
                  <a:pt x="16857" y="9411"/>
                  <a:pt x="17195" y="9411"/>
                </a:cubicBezTo>
                <a:cubicBezTo>
                  <a:pt x="17485" y="9411"/>
                  <a:pt x="17748" y="9365"/>
                  <a:pt x="17983" y="9272"/>
                </a:cubicBezTo>
                <a:cubicBezTo>
                  <a:pt x="18218" y="9179"/>
                  <a:pt x="18420" y="9048"/>
                  <a:pt x="18589" y="8880"/>
                </a:cubicBezTo>
                <a:cubicBezTo>
                  <a:pt x="18757" y="8711"/>
                  <a:pt x="18888" y="8509"/>
                  <a:pt x="18981" y="8274"/>
                </a:cubicBezTo>
                <a:cubicBezTo>
                  <a:pt x="19074" y="8039"/>
                  <a:pt x="19121" y="7776"/>
                  <a:pt x="19121" y="7486"/>
                </a:cubicBezTo>
                <a:cubicBezTo>
                  <a:pt x="19121" y="7137"/>
                  <a:pt x="19048" y="6806"/>
                  <a:pt x="18902" y="6492"/>
                </a:cubicBezTo>
                <a:cubicBezTo>
                  <a:pt x="18757" y="6179"/>
                  <a:pt x="18564" y="5901"/>
                  <a:pt x="18323" y="5660"/>
                </a:cubicBezTo>
                <a:cubicBezTo>
                  <a:pt x="18082" y="5419"/>
                  <a:pt x="17804" y="5229"/>
                  <a:pt x="17491" y="5090"/>
                </a:cubicBezTo>
                <a:cubicBezTo>
                  <a:pt x="17177" y="4950"/>
                  <a:pt x="16852" y="4880"/>
                  <a:pt x="16515" y="4880"/>
                </a:cubicBezTo>
                <a:lnTo>
                  <a:pt x="14694" y="4880"/>
                </a:lnTo>
                <a:close/>
                <a:moveTo>
                  <a:pt x="16010" y="6240"/>
                </a:moveTo>
                <a:cubicBezTo>
                  <a:pt x="16143" y="6100"/>
                  <a:pt x="16315" y="6031"/>
                  <a:pt x="16524" y="6031"/>
                </a:cubicBezTo>
                <a:cubicBezTo>
                  <a:pt x="16686" y="6031"/>
                  <a:pt x="16849" y="6076"/>
                  <a:pt x="17011" y="6166"/>
                </a:cubicBezTo>
                <a:cubicBezTo>
                  <a:pt x="17174" y="6256"/>
                  <a:pt x="17321" y="6372"/>
                  <a:pt x="17452" y="6514"/>
                </a:cubicBezTo>
                <a:cubicBezTo>
                  <a:pt x="17582" y="6657"/>
                  <a:pt x="17690" y="6815"/>
                  <a:pt x="17774" y="6989"/>
                </a:cubicBezTo>
                <a:cubicBezTo>
                  <a:pt x="17858" y="7163"/>
                  <a:pt x="17900" y="7338"/>
                  <a:pt x="17900" y="7512"/>
                </a:cubicBezTo>
                <a:cubicBezTo>
                  <a:pt x="17900" y="7732"/>
                  <a:pt x="17835" y="7913"/>
                  <a:pt x="17704" y="8052"/>
                </a:cubicBezTo>
                <a:cubicBezTo>
                  <a:pt x="17574" y="8191"/>
                  <a:pt x="17401" y="8262"/>
                  <a:pt x="17186" y="8262"/>
                </a:cubicBezTo>
                <a:cubicBezTo>
                  <a:pt x="17023" y="8262"/>
                  <a:pt x="16861" y="8216"/>
                  <a:pt x="16698" y="8126"/>
                </a:cubicBezTo>
                <a:cubicBezTo>
                  <a:pt x="16535" y="8036"/>
                  <a:pt x="16389" y="7920"/>
                  <a:pt x="16258" y="7777"/>
                </a:cubicBezTo>
                <a:cubicBezTo>
                  <a:pt x="16128" y="7635"/>
                  <a:pt x="16020" y="7477"/>
                  <a:pt x="15936" y="7303"/>
                </a:cubicBezTo>
                <a:cubicBezTo>
                  <a:pt x="15851" y="7128"/>
                  <a:pt x="15810" y="6954"/>
                  <a:pt x="15810" y="6780"/>
                </a:cubicBezTo>
                <a:cubicBezTo>
                  <a:pt x="15810" y="6560"/>
                  <a:pt x="15876" y="6379"/>
                  <a:pt x="16010" y="6240"/>
                </a:cubicBezTo>
                <a:close/>
                <a:moveTo>
                  <a:pt x="20692" y="5081"/>
                </a:moveTo>
                <a:cubicBezTo>
                  <a:pt x="20570" y="4947"/>
                  <a:pt x="20410" y="4880"/>
                  <a:pt x="20212" y="4880"/>
                </a:cubicBezTo>
                <a:cubicBezTo>
                  <a:pt x="19664" y="4880"/>
                  <a:pt x="19664" y="4880"/>
                  <a:pt x="19664" y="4880"/>
                </a:cubicBezTo>
                <a:cubicBezTo>
                  <a:pt x="19594" y="4880"/>
                  <a:pt x="19560" y="4921"/>
                  <a:pt x="19560" y="5002"/>
                </a:cubicBezTo>
                <a:cubicBezTo>
                  <a:pt x="19560" y="8636"/>
                  <a:pt x="19560" y="8636"/>
                  <a:pt x="19560" y="8636"/>
                </a:cubicBezTo>
                <a:cubicBezTo>
                  <a:pt x="19560" y="8851"/>
                  <a:pt x="19620" y="9019"/>
                  <a:pt x="19742" y="9141"/>
                </a:cubicBezTo>
                <a:cubicBezTo>
                  <a:pt x="19864" y="9263"/>
                  <a:pt x="20032" y="9324"/>
                  <a:pt x="20248" y="9324"/>
                </a:cubicBezTo>
                <a:cubicBezTo>
                  <a:pt x="20674" y="9324"/>
                  <a:pt x="20674" y="9324"/>
                  <a:pt x="20674" y="9324"/>
                </a:cubicBezTo>
                <a:cubicBezTo>
                  <a:pt x="20744" y="9324"/>
                  <a:pt x="20779" y="9283"/>
                  <a:pt x="20779" y="9202"/>
                </a:cubicBezTo>
                <a:cubicBezTo>
                  <a:pt x="20779" y="6841"/>
                  <a:pt x="20779" y="6841"/>
                  <a:pt x="20779" y="6841"/>
                </a:cubicBezTo>
                <a:cubicBezTo>
                  <a:pt x="22905" y="9124"/>
                  <a:pt x="22905" y="9124"/>
                  <a:pt x="22905" y="9124"/>
                </a:cubicBezTo>
                <a:cubicBezTo>
                  <a:pt x="23027" y="9257"/>
                  <a:pt x="23186" y="9324"/>
                  <a:pt x="23384" y="9324"/>
                </a:cubicBezTo>
                <a:cubicBezTo>
                  <a:pt x="23898" y="9324"/>
                  <a:pt x="23898" y="9324"/>
                  <a:pt x="23898" y="9324"/>
                </a:cubicBezTo>
                <a:cubicBezTo>
                  <a:pt x="23968" y="9324"/>
                  <a:pt x="24003" y="9283"/>
                  <a:pt x="24003" y="9202"/>
                </a:cubicBezTo>
                <a:cubicBezTo>
                  <a:pt x="24003" y="5569"/>
                  <a:pt x="24003" y="5569"/>
                  <a:pt x="24003" y="5569"/>
                </a:cubicBezTo>
                <a:cubicBezTo>
                  <a:pt x="24003" y="5354"/>
                  <a:pt x="23942" y="5186"/>
                  <a:pt x="23820" y="5063"/>
                </a:cubicBezTo>
                <a:cubicBezTo>
                  <a:pt x="23697" y="4942"/>
                  <a:pt x="23529" y="4880"/>
                  <a:pt x="23314" y="4880"/>
                </a:cubicBezTo>
                <a:cubicBezTo>
                  <a:pt x="22887" y="4880"/>
                  <a:pt x="22887" y="4880"/>
                  <a:pt x="22887" y="4880"/>
                </a:cubicBezTo>
                <a:cubicBezTo>
                  <a:pt x="22818" y="4880"/>
                  <a:pt x="22783" y="4921"/>
                  <a:pt x="22783" y="5002"/>
                </a:cubicBezTo>
                <a:cubicBezTo>
                  <a:pt x="22783" y="6370"/>
                  <a:pt x="22783" y="6370"/>
                  <a:pt x="22783" y="6370"/>
                </a:cubicBezTo>
                <a:cubicBezTo>
                  <a:pt x="22783" y="6487"/>
                  <a:pt x="22755" y="6581"/>
                  <a:pt x="22700" y="6653"/>
                </a:cubicBezTo>
                <a:cubicBezTo>
                  <a:pt x="22645" y="6726"/>
                  <a:pt x="22562" y="6763"/>
                  <a:pt x="22452" y="6763"/>
                </a:cubicBezTo>
                <a:cubicBezTo>
                  <a:pt x="22318" y="6763"/>
                  <a:pt x="22196" y="6702"/>
                  <a:pt x="22086" y="6579"/>
                </a:cubicBezTo>
                <a:lnTo>
                  <a:pt x="20692" y="5081"/>
                </a:lnTo>
                <a:close/>
                <a:moveTo>
                  <a:pt x="24672" y="4880"/>
                </a:moveTo>
                <a:cubicBezTo>
                  <a:pt x="24602" y="4880"/>
                  <a:pt x="24568" y="4921"/>
                  <a:pt x="24568" y="5002"/>
                </a:cubicBezTo>
                <a:cubicBezTo>
                  <a:pt x="24568" y="6806"/>
                  <a:pt x="24568" y="6806"/>
                  <a:pt x="24568" y="6806"/>
                </a:cubicBezTo>
                <a:cubicBezTo>
                  <a:pt x="24568" y="7154"/>
                  <a:pt x="24640" y="7486"/>
                  <a:pt x="24786" y="7799"/>
                </a:cubicBezTo>
                <a:cubicBezTo>
                  <a:pt x="24930" y="8113"/>
                  <a:pt x="25124" y="8390"/>
                  <a:pt x="25365" y="8631"/>
                </a:cubicBezTo>
                <a:cubicBezTo>
                  <a:pt x="25606" y="8872"/>
                  <a:pt x="25883" y="9062"/>
                  <a:pt x="26197" y="9202"/>
                </a:cubicBezTo>
                <a:cubicBezTo>
                  <a:pt x="26510" y="9342"/>
                  <a:pt x="26836" y="9411"/>
                  <a:pt x="27172" y="9411"/>
                </a:cubicBezTo>
                <a:cubicBezTo>
                  <a:pt x="27463" y="9411"/>
                  <a:pt x="27726" y="9365"/>
                  <a:pt x="27961" y="9272"/>
                </a:cubicBezTo>
                <a:cubicBezTo>
                  <a:pt x="28196" y="9179"/>
                  <a:pt x="28398" y="9048"/>
                  <a:pt x="28567" y="8880"/>
                </a:cubicBezTo>
                <a:cubicBezTo>
                  <a:pt x="28735" y="8711"/>
                  <a:pt x="28866" y="8509"/>
                  <a:pt x="28959" y="8274"/>
                </a:cubicBezTo>
                <a:cubicBezTo>
                  <a:pt x="29052" y="8039"/>
                  <a:pt x="29098" y="7776"/>
                  <a:pt x="29098" y="7486"/>
                </a:cubicBezTo>
                <a:cubicBezTo>
                  <a:pt x="29098" y="7137"/>
                  <a:pt x="29026" y="6806"/>
                  <a:pt x="28880" y="6492"/>
                </a:cubicBezTo>
                <a:cubicBezTo>
                  <a:pt x="28735" y="6179"/>
                  <a:pt x="28542" y="5901"/>
                  <a:pt x="28301" y="5660"/>
                </a:cubicBezTo>
                <a:cubicBezTo>
                  <a:pt x="28060" y="5419"/>
                  <a:pt x="27783" y="5229"/>
                  <a:pt x="27469" y="5090"/>
                </a:cubicBezTo>
                <a:cubicBezTo>
                  <a:pt x="27155" y="4950"/>
                  <a:pt x="26830" y="4880"/>
                  <a:pt x="26493" y="4880"/>
                </a:cubicBezTo>
                <a:lnTo>
                  <a:pt x="24672" y="4880"/>
                </a:lnTo>
                <a:close/>
                <a:moveTo>
                  <a:pt x="25988" y="6240"/>
                </a:moveTo>
                <a:cubicBezTo>
                  <a:pt x="26122" y="6100"/>
                  <a:pt x="26293" y="6031"/>
                  <a:pt x="26502" y="6031"/>
                </a:cubicBezTo>
                <a:cubicBezTo>
                  <a:pt x="26664" y="6031"/>
                  <a:pt x="26827" y="6076"/>
                  <a:pt x="26990" y="6166"/>
                </a:cubicBezTo>
                <a:cubicBezTo>
                  <a:pt x="27152" y="6256"/>
                  <a:pt x="27299" y="6372"/>
                  <a:pt x="27430" y="6514"/>
                </a:cubicBezTo>
                <a:cubicBezTo>
                  <a:pt x="27561" y="6657"/>
                  <a:pt x="27668" y="6815"/>
                  <a:pt x="27753" y="6989"/>
                </a:cubicBezTo>
                <a:cubicBezTo>
                  <a:pt x="27836" y="7163"/>
                  <a:pt x="27879" y="7338"/>
                  <a:pt x="27879" y="7512"/>
                </a:cubicBezTo>
                <a:cubicBezTo>
                  <a:pt x="27879" y="7732"/>
                  <a:pt x="27813" y="7913"/>
                  <a:pt x="27682" y="8052"/>
                </a:cubicBezTo>
                <a:cubicBezTo>
                  <a:pt x="27551" y="8191"/>
                  <a:pt x="27379" y="8262"/>
                  <a:pt x="27164" y="8262"/>
                </a:cubicBezTo>
                <a:cubicBezTo>
                  <a:pt x="27001" y="8262"/>
                  <a:pt x="26839" y="8216"/>
                  <a:pt x="26676" y="8126"/>
                </a:cubicBezTo>
                <a:cubicBezTo>
                  <a:pt x="26513" y="8036"/>
                  <a:pt x="26367" y="7920"/>
                  <a:pt x="26236" y="7777"/>
                </a:cubicBezTo>
                <a:cubicBezTo>
                  <a:pt x="26105" y="7635"/>
                  <a:pt x="25998" y="7477"/>
                  <a:pt x="25914" y="7303"/>
                </a:cubicBezTo>
                <a:cubicBezTo>
                  <a:pt x="25830" y="7128"/>
                  <a:pt x="25787" y="6954"/>
                  <a:pt x="25787" y="6780"/>
                </a:cubicBezTo>
                <a:cubicBezTo>
                  <a:pt x="25787" y="6560"/>
                  <a:pt x="25854" y="6379"/>
                  <a:pt x="25988" y="6240"/>
                </a:cubicBezTo>
                <a:close/>
                <a:moveTo>
                  <a:pt x="14313" y="654"/>
                </a:moveTo>
                <a:cubicBezTo>
                  <a:pt x="14313" y="293"/>
                  <a:pt x="14021" y="1"/>
                  <a:pt x="13660" y="1"/>
                </a:cubicBezTo>
                <a:cubicBezTo>
                  <a:pt x="12968" y="1"/>
                  <a:pt x="12968" y="1"/>
                  <a:pt x="12968" y="1"/>
                </a:cubicBezTo>
                <a:cubicBezTo>
                  <a:pt x="12933" y="1"/>
                  <a:pt x="12902" y="15"/>
                  <a:pt x="12879" y="37"/>
                </a:cubicBezTo>
                <a:cubicBezTo>
                  <a:pt x="11492" y="1339"/>
                  <a:pt x="11492" y="1339"/>
                  <a:pt x="11492" y="1339"/>
                </a:cubicBezTo>
                <a:cubicBezTo>
                  <a:pt x="11017" y="1785"/>
                  <a:pt x="10377" y="2036"/>
                  <a:pt x="9674" y="2036"/>
                </a:cubicBezTo>
                <a:cubicBezTo>
                  <a:pt x="8941" y="2036"/>
                  <a:pt x="8278" y="1762"/>
                  <a:pt x="7798" y="1282"/>
                </a:cubicBezTo>
                <a:cubicBezTo>
                  <a:pt x="7798" y="1282"/>
                  <a:pt x="6778" y="324"/>
                  <a:pt x="6769" y="316"/>
                </a:cubicBezTo>
                <a:cubicBezTo>
                  <a:pt x="6573" y="133"/>
                  <a:pt x="6304" y="8"/>
                  <a:pt x="5994" y="1"/>
                </a:cubicBezTo>
                <a:cubicBezTo>
                  <a:pt x="5165" y="1"/>
                  <a:pt x="5165" y="1"/>
                  <a:pt x="5165" y="1"/>
                </a:cubicBezTo>
                <a:cubicBezTo>
                  <a:pt x="5093" y="1"/>
                  <a:pt x="5035" y="59"/>
                  <a:pt x="5035" y="131"/>
                </a:cubicBezTo>
                <a:cubicBezTo>
                  <a:pt x="5035" y="3791"/>
                  <a:pt x="5035" y="3791"/>
                  <a:pt x="5035" y="3791"/>
                </a:cubicBezTo>
                <a:cubicBezTo>
                  <a:pt x="5035" y="4152"/>
                  <a:pt x="5327" y="4444"/>
                  <a:pt x="5688" y="4444"/>
                </a:cubicBezTo>
                <a:cubicBezTo>
                  <a:pt x="5941" y="4444"/>
                  <a:pt x="5941" y="4444"/>
                  <a:pt x="5941" y="4444"/>
                </a:cubicBezTo>
                <a:cubicBezTo>
                  <a:pt x="6112" y="4444"/>
                  <a:pt x="6112" y="4444"/>
                  <a:pt x="6112" y="4444"/>
                </a:cubicBezTo>
                <a:cubicBezTo>
                  <a:pt x="6184" y="4444"/>
                  <a:pt x="6243" y="4385"/>
                  <a:pt x="6243" y="4313"/>
                </a:cubicBezTo>
                <a:cubicBezTo>
                  <a:pt x="6243" y="3010"/>
                  <a:pt x="6243" y="3010"/>
                  <a:pt x="6243" y="3010"/>
                </a:cubicBezTo>
                <a:cubicBezTo>
                  <a:pt x="6243" y="2670"/>
                  <a:pt x="6521" y="2390"/>
                  <a:pt x="6856" y="2390"/>
                </a:cubicBezTo>
                <a:cubicBezTo>
                  <a:pt x="7479" y="2390"/>
                  <a:pt x="7926" y="2923"/>
                  <a:pt x="8330" y="3280"/>
                </a:cubicBezTo>
                <a:cubicBezTo>
                  <a:pt x="8825" y="3717"/>
                  <a:pt x="9205" y="4138"/>
                  <a:pt x="9674" y="4138"/>
                </a:cubicBezTo>
                <a:cubicBezTo>
                  <a:pt x="10142" y="4138"/>
                  <a:pt x="10523" y="3717"/>
                  <a:pt x="11018" y="3280"/>
                </a:cubicBezTo>
                <a:cubicBezTo>
                  <a:pt x="11422" y="2923"/>
                  <a:pt x="11869" y="2390"/>
                  <a:pt x="12492" y="2390"/>
                </a:cubicBezTo>
                <a:cubicBezTo>
                  <a:pt x="12825" y="2390"/>
                  <a:pt x="13101" y="2667"/>
                  <a:pt x="13104" y="3005"/>
                </a:cubicBezTo>
                <a:cubicBezTo>
                  <a:pt x="13104" y="3005"/>
                  <a:pt x="13104" y="3785"/>
                  <a:pt x="13104" y="3791"/>
                </a:cubicBezTo>
                <a:cubicBezTo>
                  <a:pt x="13104" y="4152"/>
                  <a:pt x="13397" y="4443"/>
                  <a:pt x="13758" y="4443"/>
                </a:cubicBezTo>
                <a:cubicBezTo>
                  <a:pt x="13758" y="4443"/>
                  <a:pt x="14030" y="4443"/>
                  <a:pt x="14040" y="4443"/>
                </a:cubicBezTo>
                <a:cubicBezTo>
                  <a:pt x="14114" y="4443"/>
                  <a:pt x="14182" y="4444"/>
                  <a:pt x="14182" y="4444"/>
                </a:cubicBezTo>
                <a:cubicBezTo>
                  <a:pt x="14182" y="4444"/>
                  <a:pt x="14182" y="4444"/>
                  <a:pt x="14182" y="4444"/>
                </a:cubicBezTo>
                <a:cubicBezTo>
                  <a:pt x="14255" y="4444"/>
                  <a:pt x="14313" y="4385"/>
                  <a:pt x="14313" y="4313"/>
                </a:cubicBezTo>
                <a:cubicBezTo>
                  <a:pt x="14313" y="4311"/>
                  <a:pt x="14313" y="685"/>
                  <a:pt x="14313" y="65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895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5">
            <a:extLst>
              <a:ext uri="{FF2B5EF4-FFF2-40B4-BE49-F238E27FC236}">
                <a16:creationId xmlns:a16="http://schemas.microsoft.com/office/drawing/2014/main" id="{1F66C43F-9CEE-4108-822F-4D7623823595}"/>
              </a:ext>
            </a:extLst>
          </p:cNvPr>
          <p:cNvSpPr/>
          <p:nvPr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DCB9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79AFF54C-A23C-4ECD-A980-5D0991EFFB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951538" y="1989138"/>
            <a:ext cx="5617069" cy="1251710"/>
          </a:xfrm>
          <a:prstGeom prst="rect">
            <a:avLst/>
          </a:prstGeom>
        </p:spPr>
        <p:txBody>
          <a:bodyPr wrap="none" tIns="0" bIns="216000" anchor="ctr"/>
          <a:lstStyle>
            <a:lvl1pPr marL="0" indent="0" algn="l">
              <a:buFont typeface="Arial" panose="020B0604020202020204" pitchFamily="34" charset="0"/>
              <a:buNone/>
              <a:defRPr sz="11500" b="0">
                <a:ln>
                  <a:noFill/>
                </a:ln>
                <a:solidFill>
                  <a:schemeClr val="bg2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09FD659-5304-4C33-9CE5-679C1E182E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951538" y="3356992"/>
            <a:ext cx="5617070" cy="2232000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solidFill>
                  <a:schemeClr val="accent1"/>
                </a:solidFill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 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ADA5AF98-CDFC-400F-B789-47B539645A54}"/>
              </a:ext>
            </a:extLst>
          </p:cNvPr>
          <p:cNvSpPr>
            <a:spLocks noEditPoints="1"/>
          </p:cNvSpPr>
          <p:nvPr/>
        </p:nvSpPr>
        <p:spPr bwMode="auto">
          <a:xfrm>
            <a:off x="10422509" y="6093296"/>
            <a:ext cx="1367855" cy="441875"/>
          </a:xfrm>
          <a:custGeom>
            <a:avLst/>
            <a:gdLst>
              <a:gd name="T0" fmla="*/ 13061 w 29098"/>
              <a:gd name="T1" fmla="*/ 9162 h 9411"/>
              <a:gd name="T2" fmla="*/ 11664 w 29098"/>
              <a:gd name="T3" fmla="*/ 7057 h 9411"/>
              <a:gd name="T4" fmla="*/ 11001 w 29098"/>
              <a:gd name="T5" fmla="*/ 6227 h 9411"/>
              <a:gd name="T6" fmla="*/ 10360 w 29098"/>
              <a:gd name="T7" fmla="*/ 9281 h 9411"/>
              <a:gd name="T8" fmla="*/ 9758 w 29098"/>
              <a:gd name="T9" fmla="*/ 8651 h 9411"/>
              <a:gd name="T10" fmla="*/ 12545 w 29098"/>
              <a:gd name="T11" fmla="*/ 5032 h 9411"/>
              <a:gd name="T12" fmla="*/ 13333 w 29098"/>
              <a:gd name="T13" fmla="*/ 7961 h 9411"/>
              <a:gd name="T14" fmla="*/ 7385 w 29098"/>
              <a:gd name="T15" fmla="*/ 8170 h 9411"/>
              <a:gd name="T16" fmla="*/ 6282 w 29098"/>
              <a:gd name="T17" fmla="*/ 6221 h 9411"/>
              <a:gd name="T18" fmla="*/ 7535 w 29098"/>
              <a:gd name="T19" fmla="*/ 6225 h 9411"/>
              <a:gd name="T20" fmla="*/ 7547 w 29098"/>
              <a:gd name="T21" fmla="*/ 7685 h 9411"/>
              <a:gd name="T22" fmla="*/ 8605 w 29098"/>
              <a:gd name="T23" fmla="*/ 5629 h 9411"/>
              <a:gd name="T24" fmla="*/ 4916 w 29098"/>
              <a:gd name="T25" fmla="*/ 6804 h 9411"/>
              <a:gd name="T26" fmla="*/ 9258 w 29098"/>
              <a:gd name="T27" fmla="*/ 9324 h 9411"/>
              <a:gd name="T28" fmla="*/ 4093 w 29098"/>
              <a:gd name="T29" fmla="*/ 2779 h 9411"/>
              <a:gd name="T30" fmla="*/ 1357 w 29098"/>
              <a:gd name="T31" fmla="*/ 1629 h 9411"/>
              <a:gd name="T32" fmla="*/ 4476 w 29098"/>
              <a:gd name="T33" fmla="*/ 688 h 9411"/>
              <a:gd name="T34" fmla="*/ 120 w 29098"/>
              <a:gd name="T35" fmla="*/ 2535 h 9411"/>
              <a:gd name="T36" fmla="*/ 4442 w 29098"/>
              <a:gd name="T37" fmla="*/ 4443 h 9411"/>
              <a:gd name="T38" fmla="*/ 2045 w 29098"/>
              <a:gd name="T39" fmla="*/ 3293 h 9411"/>
              <a:gd name="T40" fmla="*/ 18887 w 29098"/>
              <a:gd name="T41" fmla="*/ 3969 h 9411"/>
              <a:gd name="T42" fmla="*/ 16748 w 29098"/>
              <a:gd name="T43" fmla="*/ 0 h 9411"/>
              <a:gd name="T44" fmla="*/ 15563 w 29098"/>
              <a:gd name="T45" fmla="*/ 4443 h 9411"/>
              <a:gd name="T46" fmla="*/ 18186 w 29098"/>
              <a:gd name="T47" fmla="*/ 2614 h 9411"/>
              <a:gd name="T48" fmla="*/ 16265 w 29098"/>
              <a:gd name="T49" fmla="*/ 1355 h 9411"/>
              <a:gd name="T50" fmla="*/ 3542 w 29098"/>
              <a:gd name="T51" fmla="*/ 6292 h 9411"/>
              <a:gd name="T52" fmla="*/ 4417 w 29098"/>
              <a:gd name="T53" fmla="*/ 5517 h 9411"/>
              <a:gd name="T54" fmla="*/ 292 w 29098"/>
              <a:gd name="T55" fmla="*/ 5547 h 9411"/>
              <a:gd name="T56" fmla="*/ 2074 w 29098"/>
              <a:gd name="T57" fmla="*/ 7582 h 9411"/>
              <a:gd name="T58" fmla="*/ 2897 w 29098"/>
              <a:gd name="T59" fmla="*/ 8144 h 9411"/>
              <a:gd name="T60" fmla="*/ 810 w 29098"/>
              <a:gd name="T61" fmla="*/ 7799 h 9411"/>
              <a:gd name="T62" fmla="*/ 475 w 29098"/>
              <a:gd name="T63" fmla="*/ 8901 h 9411"/>
              <a:gd name="T64" fmla="*/ 4470 w 29098"/>
              <a:gd name="T65" fmla="*/ 9289 h 9411"/>
              <a:gd name="T66" fmla="*/ 3612 w 29098"/>
              <a:gd name="T67" fmla="*/ 6737 h 9411"/>
              <a:gd name="T68" fmla="*/ 2836 w 29098"/>
              <a:gd name="T69" fmla="*/ 5991 h 9411"/>
              <a:gd name="T70" fmla="*/ 15386 w 29098"/>
              <a:gd name="T71" fmla="*/ 8631 h 9411"/>
              <a:gd name="T72" fmla="*/ 18981 w 29098"/>
              <a:gd name="T73" fmla="*/ 8274 h 9411"/>
              <a:gd name="T74" fmla="*/ 16515 w 29098"/>
              <a:gd name="T75" fmla="*/ 4880 h 9411"/>
              <a:gd name="T76" fmla="*/ 17452 w 29098"/>
              <a:gd name="T77" fmla="*/ 6514 h 9411"/>
              <a:gd name="T78" fmla="*/ 16698 w 29098"/>
              <a:gd name="T79" fmla="*/ 8126 h 9411"/>
              <a:gd name="T80" fmla="*/ 20692 w 29098"/>
              <a:gd name="T81" fmla="*/ 5081 h 9411"/>
              <a:gd name="T82" fmla="*/ 19742 w 29098"/>
              <a:gd name="T83" fmla="*/ 9141 h 9411"/>
              <a:gd name="T84" fmla="*/ 22905 w 29098"/>
              <a:gd name="T85" fmla="*/ 9124 h 9411"/>
              <a:gd name="T86" fmla="*/ 23820 w 29098"/>
              <a:gd name="T87" fmla="*/ 5063 h 9411"/>
              <a:gd name="T88" fmla="*/ 22700 w 29098"/>
              <a:gd name="T89" fmla="*/ 6653 h 9411"/>
              <a:gd name="T90" fmla="*/ 24568 w 29098"/>
              <a:gd name="T91" fmla="*/ 5002 h 9411"/>
              <a:gd name="T92" fmla="*/ 27172 w 29098"/>
              <a:gd name="T93" fmla="*/ 9411 h 9411"/>
              <a:gd name="T94" fmla="*/ 28880 w 29098"/>
              <a:gd name="T95" fmla="*/ 6492 h 9411"/>
              <a:gd name="T96" fmla="*/ 25988 w 29098"/>
              <a:gd name="T97" fmla="*/ 6240 h 9411"/>
              <a:gd name="T98" fmla="*/ 27879 w 29098"/>
              <a:gd name="T99" fmla="*/ 7512 h 9411"/>
              <a:gd name="T100" fmla="*/ 25914 w 29098"/>
              <a:gd name="T101" fmla="*/ 7303 h 9411"/>
              <a:gd name="T102" fmla="*/ 12968 w 29098"/>
              <a:gd name="T103" fmla="*/ 1 h 9411"/>
              <a:gd name="T104" fmla="*/ 6769 w 29098"/>
              <a:gd name="T105" fmla="*/ 316 h 9411"/>
              <a:gd name="T106" fmla="*/ 5688 w 29098"/>
              <a:gd name="T107" fmla="*/ 4444 h 9411"/>
              <a:gd name="T108" fmla="*/ 6856 w 29098"/>
              <a:gd name="T109" fmla="*/ 2390 h 9411"/>
              <a:gd name="T110" fmla="*/ 13104 w 29098"/>
              <a:gd name="T111" fmla="*/ 3005 h 9411"/>
              <a:gd name="T112" fmla="*/ 14182 w 29098"/>
              <a:gd name="T113" fmla="*/ 4444 h 9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9098" h="9411">
                <a:moveTo>
                  <a:pt x="14591" y="8890"/>
                </a:moveTo>
                <a:cubicBezTo>
                  <a:pt x="14591" y="9198"/>
                  <a:pt x="14591" y="9198"/>
                  <a:pt x="14591" y="9198"/>
                </a:cubicBezTo>
                <a:cubicBezTo>
                  <a:pt x="14591" y="9279"/>
                  <a:pt x="14557" y="9324"/>
                  <a:pt x="14489" y="9324"/>
                </a:cubicBezTo>
                <a:cubicBezTo>
                  <a:pt x="13522" y="9323"/>
                  <a:pt x="13522" y="9323"/>
                  <a:pt x="13522" y="9323"/>
                </a:cubicBezTo>
                <a:cubicBezTo>
                  <a:pt x="13357" y="9323"/>
                  <a:pt x="13204" y="9266"/>
                  <a:pt x="13061" y="9162"/>
                </a:cubicBezTo>
                <a:cubicBezTo>
                  <a:pt x="13061" y="9162"/>
                  <a:pt x="11599" y="8009"/>
                  <a:pt x="11595" y="8005"/>
                </a:cubicBezTo>
                <a:cubicBezTo>
                  <a:pt x="11496" y="7918"/>
                  <a:pt x="11431" y="7774"/>
                  <a:pt x="11431" y="7610"/>
                </a:cubicBezTo>
                <a:cubicBezTo>
                  <a:pt x="11431" y="7609"/>
                  <a:pt x="11431" y="7134"/>
                  <a:pt x="11431" y="7134"/>
                </a:cubicBezTo>
                <a:cubicBezTo>
                  <a:pt x="11431" y="7053"/>
                  <a:pt x="11456" y="7013"/>
                  <a:pt x="11508" y="7013"/>
                </a:cubicBezTo>
                <a:cubicBezTo>
                  <a:pt x="11559" y="7013"/>
                  <a:pt x="11629" y="7046"/>
                  <a:pt x="11664" y="7057"/>
                </a:cubicBezTo>
                <a:cubicBezTo>
                  <a:pt x="11739" y="7084"/>
                  <a:pt x="11834" y="7110"/>
                  <a:pt x="11840" y="7111"/>
                </a:cubicBezTo>
                <a:cubicBezTo>
                  <a:pt x="11992" y="7160"/>
                  <a:pt x="12140" y="7185"/>
                  <a:pt x="12284" y="7185"/>
                </a:cubicBezTo>
                <a:cubicBezTo>
                  <a:pt x="12587" y="7185"/>
                  <a:pt x="12829" y="7051"/>
                  <a:pt x="12905" y="6835"/>
                </a:cubicBezTo>
                <a:cubicBezTo>
                  <a:pt x="12975" y="6636"/>
                  <a:pt x="12778" y="6174"/>
                  <a:pt x="12107" y="6005"/>
                </a:cubicBezTo>
                <a:cubicBezTo>
                  <a:pt x="11604" y="5877"/>
                  <a:pt x="11137" y="5976"/>
                  <a:pt x="11001" y="6227"/>
                </a:cubicBezTo>
                <a:cubicBezTo>
                  <a:pt x="11001" y="6227"/>
                  <a:pt x="10980" y="6266"/>
                  <a:pt x="10968" y="6306"/>
                </a:cubicBezTo>
                <a:cubicBezTo>
                  <a:pt x="10956" y="6345"/>
                  <a:pt x="10953" y="6404"/>
                  <a:pt x="10953" y="6427"/>
                </a:cubicBezTo>
                <a:cubicBezTo>
                  <a:pt x="10953" y="6427"/>
                  <a:pt x="10953" y="8221"/>
                  <a:pt x="10953" y="8246"/>
                </a:cubicBezTo>
                <a:cubicBezTo>
                  <a:pt x="10953" y="8519"/>
                  <a:pt x="10911" y="8773"/>
                  <a:pt x="10741" y="8996"/>
                </a:cubicBezTo>
                <a:cubicBezTo>
                  <a:pt x="10644" y="9125"/>
                  <a:pt x="10513" y="9231"/>
                  <a:pt x="10360" y="9281"/>
                </a:cubicBezTo>
                <a:cubicBezTo>
                  <a:pt x="10262" y="9312"/>
                  <a:pt x="10152" y="9324"/>
                  <a:pt x="10051" y="9324"/>
                </a:cubicBezTo>
                <a:cubicBezTo>
                  <a:pt x="9980" y="9324"/>
                  <a:pt x="9856" y="9320"/>
                  <a:pt x="9800" y="9290"/>
                </a:cubicBezTo>
                <a:cubicBezTo>
                  <a:pt x="9758" y="9267"/>
                  <a:pt x="9758" y="9222"/>
                  <a:pt x="9758" y="9180"/>
                </a:cubicBezTo>
                <a:cubicBezTo>
                  <a:pt x="9758" y="8881"/>
                  <a:pt x="9758" y="8881"/>
                  <a:pt x="9758" y="8881"/>
                </a:cubicBezTo>
                <a:cubicBezTo>
                  <a:pt x="9758" y="8651"/>
                  <a:pt x="9758" y="8651"/>
                  <a:pt x="9758" y="8651"/>
                </a:cubicBezTo>
                <a:cubicBezTo>
                  <a:pt x="9758" y="7985"/>
                  <a:pt x="9758" y="7985"/>
                  <a:pt x="9758" y="7985"/>
                </a:cubicBezTo>
                <a:cubicBezTo>
                  <a:pt x="9758" y="7985"/>
                  <a:pt x="9758" y="4984"/>
                  <a:pt x="9758" y="4977"/>
                </a:cubicBezTo>
                <a:cubicBezTo>
                  <a:pt x="9758" y="4924"/>
                  <a:pt x="9801" y="4880"/>
                  <a:pt x="9855" y="4880"/>
                </a:cubicBezTo>
                <a:cubicBezTo>
                  <a:pt x="9858" y="4880"/>
                  <a:pt x="11649" y="4880"/>
                  <a:pt x="11649" y="4880"/>
                </a:cubicBezTo>
                <a:cubicBezTo>
                  <a:pt x="11945" y="4880"/>
                  <a:pt x="12240" y="4931"/>
                  <a:pt x="12545" y="5032"/>
                </a:cubicBezTo>
                <a:cubicBezTo>
                  <a:pt x="12849" y="5134"/>
                  <a:pt x="13124" y="5271"/>
                  <a:pt x="13368" y="5445"/>
                </a:cubicBezTo>
                <a:cubicBezTo>
                  <a:pt x="13613" y="5619"/>
                  <a:pt x="13812" y="5824"/>
                  <a:pt x="13966" y="6059"/>
                </a:cubicBezTo>
                <a:cubicBezTo>
                  <a:pt x="14120" y="6294"/>
                  <a:pt x="14196" y="6545"/>
                  <a:pt x="14196" y="6812"/>
                </a:cubicBezTo>
                <a:cubicBezTo>
                  <a:pt x="14196" y="7096"/>
                  <a:pt x="14111" y="7323"/>
                  <a:pt x="13953" y="7504"/>
                </a:cubicBezTo>
                <a:cubicBezTo>
                  <a:pt x="13699" y="7795"/>
                  <a:pt x="13419" y="7907"/>
                  <a:pt x="13333" y="7961"/>
                </a:cubicBezTo>
                <a:cubicBezTo>
                  <a:pt x="13409" y="8021"/>
                  <a:pt x="13586" y="8161"/>
                  <a:pt x="13825" y="8350"/>
                </a:cubicBezTo>
                <a:cubicBezTo>
                  <a:pt x="14287" y="8715"/>
                  <a:pt x="14521" y="8780"/>
                  <a:pt x="14522" y="8780"/>
                </a:cubicBezTo>
                <a:cubicBezTo>
                  <a:pt x="14554" y="8793"/>
                  <a:pt x="14591" y="8842"/>
                  <a:pt x="14591" y="8890"/>
                </a:cubicBezTo>
                <a:close/>
                <a:moveTo>
                  <a:pt x="8674" y="8170"/>
                </a:moveTo>
                <a:cubicBezTo>
                  <a:pt x="7385" y="8170"/>
                  <a:pt x="7385" y="8170"/>
                  <a:pt x="7385" y="8170"/>
                </a:cubicBezTo>
                <a:cubicBezTo>
                  <a:pt x="7201" y="8170"/>
                  <a:pt x="7035" y="8122"/>
                  <a:pt x="6873" y="8053"/>
                </a:cubicBezTo>
                <a:cubicBezTo>
                  <a:pt x="6734" y="7994"/>
                  <a:pt x="6522" y="7809"/>
                  <a:pt x="6459" y="7739"/>
                </a:cubicBezTo>
                <a:cubicBezTo>
                  <a:pt x="6341" y="7609"/>
                  <a:pt x="6249" y="7458"/>
                  <a:pt x="6183" y="7287"/>
                </a:cubicBezTo>
                <a:cubicBezTo>
                  <a:pt x="6117" y="7116"/>
                  <a:pt x="6084" y="6940"/>
                  <a:pt x="6084" y="6760"/>
                </a:cubicBezTo>
                <a:cubicBezTo>
                  <a:pt x="6084" y="6529"/>
                  <a:pt x="6150" y="6349"/>
                  <a:pt x="6282" y="6221"/>
                </a:cubicBezTo>
                <a:cubicBezTo>
                  <a:pt x="6298" y="6206"/>
                  <a:pt x="6355" y="6158"/>
                  <a:pt x="6421" y="6119"/>
                </a:cubicBezTo>
                <a:cubicBezTo>
                  <a:pt x="6487" y="6081"/>
                  <a:pt x="6559" y="6061"/>
                  <a:pt x="6607" y="6051"/>
                </a:cubicBezTo>
                <a:cubicBezTo>
                  <a:pt x="6684" y="6033"/>
                  <a:pt x="6768" y="6022"/>
                  <a:pt x="6858" y="6022"/>
                </a:cubicBezTo>
                <a:cubicBezTo>
                  <a:pt x="6947" y="6022"/>
                  <a:pt x="7032" y="6033"/>
                  <a:pt x="7108" y="6051"/>
                </a:cubicBezTo>
                <a:cubicBezTo>
                  <a:pt x="7253" y="6079"/>
                  <a:pt x="7396" y="6137"/>
                  <a:pt x="7535" y="6225"/>
                </a:cubicBezTo>
                <a:cubicBezTo>
                  <a:pt x="7737" y="6352"/>
                  <a:pt x="7949" y="6546"/>
                  <a:pt x="8092" y="6732"/>
                </a:cubicBezTo>
                <a:cubicBezTo>
                  <a:pt x="6751" y="6732"/>
                  <a:pt x="6751" y="6732"/>
                  <a:pt x="6751" y="6732"/>
                </a:cubicBezTo>
                <a:cubicBezTo>
                  <a:pt x="6671" y="6732"/>
                  <a:pt x="6631" y="6767"/>
                  <a:pt x="6631" y="6837"/>
                </a:cubicBezTo>
                <a:cubicBezTo>
                  <a:pt x="6631" y="6976"/>
                  <a:pt x="6652" y="7066"/>
                  <a:pt x="6706" y="7178"/>
                </a:cubicBezTo>
                <a:cubicBezTo>
                  <a:pt x="6761" y="7291"/>
                  <a:pt x="7019" y="7685"/>
                  <a:pt x="7547" y="7685"/>
                </a:cubicBezTo>
                <a:cubicBezTo>
                  <a:pt x="8795" y="7686"/>
                  <a:pt x="8795" y="7686"/>
                  <a:pt x="8795" y="7686"/>
                </a:cubicBezTo>
                <a:cubicBezTo>
                  <a:pt x="9013" y="7686"/>
                  <a:pt x="9164" y="7628"/>
                  <a:pt x="9247" y="7512"/>
                </a:cubicBezTo>
                <a:cubicBezTo>
                  <a:pt x="9331" y="7396"/>
                  <a:pt x="9355" y="7296"/>
                  <a:pt x="9355" y="7139"/>
                </a:cubicBezTo>
                <a:cubicBezTo>
                  <a:pt x="9355" y="6884"/>
                  <a:pt x="9287" y="6634"/>
                  <a:pt x="9152" y="6365"/>
                </a:cubicBezTo>
                <a:cubicBezTo>
                  <a:pt x="9017" y="6095"/>
                  <a:pt x="8834" y="5850"/>
                  <a:pt x="8605" y="5629"/>
                </a:cubicBezTo>
                <a:cubicBezTo>
                  <a:pt x="8375" y="5409"/>
                  <a:pt x="8108" y="5229"/>
                  <a:pt x="7803" y="5090"/>
                </a:cubicBezTo>
                <a:cubicBezTo>
                  <a:pt x="7498" y="4951"/>
                  <a:pt x="7180" y="4880"/>
                  <a:pt x="6847" y="4880"/>
                </a:cubicBezTo>
                <a:cubicBezTo>
                  <a:pt x="6847" y="4880"/>
                  <a:pt x="5015" y="4880"/>
                  <a:pt x="5013" y="4880"/>
                </a:cubicBezTo>
                <a:cubicBezTo>
                  <a:pt x="4960" y="4880"/>
                  <a:pt x="4916" y="4924"/>
                  <a:pt x="4916" y="4977"/>
                </a:cubicBezTo>
                <a:cubicBezTo>
                  <a:pt x="4916" y="4985"/>
                  <a:pt x="4916" y="6804"/>
                  <a:pt x="4916" y="6804"/>
                </a:cubicBezTo>
                <a:cubicBezTo>
                  <a:pt x="4916" y="7146"/>
                  <a:pt x="4982" y="7470"/>
                  <a:pt x="5114" y="7774"/>
                </a:cubicBezTo>
                <a:cubicBezTo>
                  <a:pt x="5246" y="8079"/>
                  <a:pt x="5426" y="8346"/>
                  <a:pt x="5653" y="8575"/>
                </a:cubicBezTo>
                <a:cubicBezTo>
                  <a:pt x="5880" y="8804"/>
                  <a:pt x="6144" y="8985"/>
                  <a:pt x="6446" y="9119"/>
                </a:cubicBezTo>
                <a:cubicBezTo>
                  <a:pt x="6748" y="9252"/>
                  <a:pt x="7072" y="9324"/>
                  <a:pt x="7417" y="9324"/>
                </a:cubicBezTo>
                <a:cubicBezTo>
                  <a:pt x="9258" y="9324"/>
                  <a:pt x="9258" y="9324"/>
                  <a:pt x="9258" y="9324"/>
                </a:cubicBezTo>
                <a:cubicBezTo>
                  <a:pt x="9311" y="9324"/>
                  <a:pt x="9355" y="9281"/>
                  <a:pt x="9355" y="9228"/>
                </a:cubicBezTo>
                <a:cubicBezTo>
                  <a:pt x="9355" y="8858"/>
                  <a:pt x="9355" y="8858"/>
                  <a:pt x="9355" y="8858"/>
                </a:cubicBezTo>
                <a:cubicBezTo>
                  <a:pt x="9355" y="8643"/>
                  <a:pt x="9294" y="8475"/>
                  <a:pt x="9173" y="8353"/>
                </a:cubicBezTo>
                <a:cubicBezTo>
                  <a:pt x="9053" y="8231"/>
                  <a:pt x="8886" y="8170"/>
                  <a:pt x="8674" y="8170"/>
                </a:cubicBezTo>
                <a:close/>
                <a:moveTo>
                  <a:pt x="4093" y="2779"/>
                </a:moveTo>
                <a:cubicBezTo>
                  <a:pt x="4174" y="2779"/>
                  <a:pt x="4215" y="2744"/>
                  <a:pt x="4215" y="2675"/>
                </a:cubicBezTo>
                <a:cubicBezTo>
                  <a:pt x="4215" y="2317"/>
                  <a:pt x="4215" y="2317"/>
                  <a:pt x="4215" y="2317"/>
                </a:cubicBezTo>
                <a:cubicBezTo>
                  <a:pt x="4215" y="2103"/>
                  <a:pt x="4154" y="1934"/>
                  <a:pt x="4032" y="1812"/>
                </a:cubicBezTo>
                <a:cubicBezTo>
                  <a:pt x="3910" y="1690"/>
                  <a:pt x="3741" y="1629"/>
                  <a:pt x="3526" y="1629"/>
                </a:cubicBezTo>
                <a:cubicBezTo>
                  <a:pt x="1357" y="1629"/>
                  <a:pt x="1357" y="1629"/>
                  <a:pt x="1357" y="1629"/>
                </a:cubicBezTo>
                <a:cubicBezTo>
                  <a:pt x="1392" y="1484"/>
                  <a:pt x="1466" y="1368"/>
                  <a:pt x="1579" y="1281"/>
                </a:cubicBezTo>
                <a:cubicBezTo>
                  <a:pt x="1692" y="1194"/>
                  <a:pt x="1842" y="1150"/>
                  <a:pt x="2028" y="1150"/>
                </a:cubicBezTo>
                <a:cubicBezTo>
                  <a:pt x="4354" y="1150"/>
                  <a:pt x="4354" y="1150"/>
                  <a:pt x="4354" y="1150"/>
                </a:cubicBezTo>
                <a:cubicBezTo>
                  <a:pt x="4435" y="1150"/>
                  <a:pt x="4476" y="1115"/>
                  <a:pt x="4476" y="1045"/>
                </a:cubicBezTo>
                <a:cubicBezTo>
                  <a:pt x="4476" y="688"/>
                  <a:pt x="4476" y="688"/>
                  <a:pt x="4476" y="688"/>
                </a:cubicBezTo>
                <a:cubicBezTo>
                  <a:pt x="4476" y="473"/>
                  <a:pt x="4416" y="305"/>
                  <a:pt x="4293" y="183"/>
                </a:cubicBezTo>
                <a:cubicBezTo>
                  <a:pt x="4171" y="61"/>
                  <a:pt x="4003" y="0"/>
                  <a:pt x="3788" y="0"/>
                </a:cubicBezTo>
                <a:cubicBezTo>
                  <a:pt x="224" y="0"/>
                  <a:pt x="224" y="0"/>
                  <a:pt x="224" y="0"/>
                </a:cubicBezTo>
                <a:cubicBezTo>
                  <a:pt x="154" y="0"/>
                  <a:pt x="120" y="41"/>
                  <a:pt x="120" y="122"/>
                </a:cubicBezTo>
                <a:cubicBezTo>
                  <a:pt x="120" y="2535"/>
                  <a:pt x="120" y="2535"/>
                  <a:pt x="120" y="2535"/>
                </a:cubicBezTo>
                <a:cubicBezTo>
                  <a:pt x="120" y="2808"/>
                  <a:pt x="169" y="3063"/>
                  <a:pt x="268" y="3297"/>
                </a:cubicBezTo>
                <a:cubicBezTo>
                  <a:pt x="367" y="3533"/>
                  <a:pt x="504" y="3735"/>
                  <a:pt x="682" y="3903"/>
                </a:cubicBezTo>
                <a:cubicBezTo>
                  <a:pt x="859" y="4072"/>
                  <a:pt x="1071" y="4204"/>
                  <a:pt x="1318" y="4299"/>
                </a:cubicBezTo>
                <a:cubicBezTo>
                  <a:pt x="1565" y="4396"/>
                  <a:pt x="1833" y="4443"/>
                  <a:pt x="2124" y="4443"/>
                </a:cubicBezTo>
                <a:cubicBezTo>
                  <a:pt x="4442" y="4443"/>
                  <a:pt x="4442" y="4443"/>
                  <a:pt x="4442" y="4443"/>
                </a:cubicBezTo>
                <a:cubicBezTo>
                  <a:pt x="4523" y="4443"/>
                  <a:pt x="4563" y="4408"/>
                  <a:pt x="4563" y="4339"/>
                </a:cubicBezTo>
                <a:cubicBezTo>
                  <a:pt x="4563" y="3982"/>
                  <a:pt x="4563" y="3982"/>
                  <a:pt x="4563" y="3982"/>
                </a:cubicBezTo>
                <a:cubicBezTo>
                  <a:pt x="4563" y="3767"/>
                  <a:pt x="4502" y="3598"/>
                  <a:pt x="4380" y="3476"/>
                </a:cubicBezTo>
                <a:cubicBezTo>
                  <a:pt x="4259" y="3354"/>
                  <a:pt x="4090" y="3293"/>
                  <a:pt x="3875" y="3293"/>
                </a:cubicBezTo>
                <a:cubicBezTo>
                  <a:pt x="2045" y="3293"/>
                  <a:pt x="2045" y="3293"/>
                  <a:pt x="2045" y="3293"/>
                </a:cubicBezTo>
                <a:cubicBezTo>
                  <a:pt x="1871" y="3293"/>
                  <a:pt x="1723" y="3245"/>
                  <a:pt x="1601" y="3149"/>
                </a:cubicBezTo>
                <a:cubicBezTo>
                  <a:pt x="1479" y="3054"/>
                  <a:pt x="1398" y="2930"/>
                  <a:pt x="1357" y="2779"/>
                </a:cubicBezTo>
                <a:lnTo>
                  <a:pt x="4093" y="2779"/>
                </a:lnTo>
                <a:close/>
                <a:moveTo>
                  <a:pt x="17445" y="4443"/>
                </a:moveTo>
                <a:cubicBezTo>
                  <a:pt x="18061" y="4443"/>
                  <a:pt x="18541" y="4285"/>
                  <a:pt x="18887" y="3969"/>
                </a:cubicBezTo>
                <a:cubicBezTo>
                  <a:pt x="19233" y="3652"/>
                  <a:pt x="19406" y="3186"/>
                  <a:pt x="19406" y="2570"/>
                </a:cubicBezTo>
                <a:cubicBezTo>
                  <a:pt x="19406" y="2216"/>
                  <a:pt x="19332" y="1882"/>
                  <a:pt x="19183" y="1568"/>
                </a:cubicBezTo>
                <a:cubicBezTo>
                  <a:pt x="19036" y="1254"/>
                  <a:pt x="18838" y="981"/>
                  <a:pt x="18591" y="749"/>
                </a:cubicBezTo>
                <a:cubicBezTo>
                  <a:pt x="18344" y="517"/>
                  <a:pt x="18061" y="334"/>
                  <a:pt x="17741" y="200"/>
                </a:cubicBezTo>
                <a:cubicBezTo>
                  <a:pt x="17422" y="67"/>
                  <a:pt x="17091" y="0"/>
                  <a:pt x="16748" y="0"/>
                </a:cubicBezTo>
                <a:cubicBezTo>
                  <a:pt x="14980" y="0"/>
                  <a:pt x="14980" y="0"/>
                  <a:pt x="14980" y="0"/>
                </a:cubicBezTo>
                <a:cubicBezTo>
                  <a:pt x="14910" y="0"/>
                  <a:pt x="14875" y="41"/>
                  <a:pt x="14875" y="122"/>
                </a:cubicBezTo>
                <a:cubicBezTo>
                  <a:pt x="14875" y="3755"/>
                  <a:pt x="14875" y="3755"/>
                  <a:pt x="14875" y="3755"/>
                </a:cubicBezTo>
                <a:cubicBezTo>
                  <a:pt x="14875" y="3970"/>
                  <a:pt x="14936" y="4139"/>
                  <a:pt x="15058" y="4260"/>
                </a:cubicBezTo>
                <a:cubicBezTo>
                  <a:pt x="15180" y="4382"/>
                  <a:pt x="15349" y="4443"/>
                  <a:pt x="15563" y="4443"/>
                </a:cubicBezTo>
                <a:lnTo>
                  <a:pt x="17445" y="4443"/>
                </a:lnTo>
                <a:close/>
                <a:moveTo>
                  <a:pt x="17258" y="1276"/>
                </a:moveTo>
                <a:cubicBezTo>
                  <a:pt x="17429" y="1361"/>
                  <a:pt x="17583" y="1472"/>
                  <a:pt x="17720" y="1612"/>
                </a:cubicBezTo>
                <a:cubicBezTo>
                  <a:pt x="17856" y="1751"/>
                  <a:pt x="17968" y="1908"/>
                  <a:pt x="18055" y="2082"/>
                </a:cubicBezTo>
                <a:cubicBezTo>
                  <a:pt x="18142" y="2257"/>
                  <a:pt x="18186" y="2434"/>
                  <a:pt x="18186" y="2614"/>
                </a:cubicBezTo>
                <a:cubicBezTo>
                  <a:pt x="18186" y="2828"/>
                  <a:pt x="18115" y="2996"/>
                  <a:pt x="17973" y="3115"/>
                </a:cubicBezTo>
                <a:cubicBezTo>
                  <a:pt x="17830" y="3234"/>
                  <a:pt x="17657" y="3293"/>
                  <a:pt x="17454" y="3293"/>
                </a:cubicBezTo>
                <a:cubicBezTo>
                  <a:pt x="16095" y="3293"/>
                  <a:pt x="16095" y="3293"/>
                  <a:pt x="16095" y="3293"/>
                </a:cubicBezTo>
                <a:cubicBezTo>
                  <a:pt x="16095" y="1882"/>
                  <a:pt x="16095" y="1882"/>
                  <a:pt x="16095" y="1882"/>
                </a:cubicBezTo>
                <a:cubicBezTo>
                  <a:pt x="16095" y="1667"/>
                  <a:pt x="16151" y="1491"/>
                  <a:pt x="16265" y="1355"/>
                </a:cubicBezTo>
                <a:cubicBezTo>
                  <a:pt x="16378" y="1218"/>
                  <a:pt x="16536" y="1150"/>
                  <a:pt x="16739" y="1150"/>
                </a:cubicBezTo>
                <a:cubicBezTo>
                  <a:pt x="16914" y="1150"/>
                  <a:pt x="17087" y="1192"/>
                  <a:pt x="17258" y="1276"/>
                </a:cubicBezTo>
                <a:close/>
                <a:moveTo>
                  <a:pt x="2836" y="5991"/>
                </a:moveTo>
                <a:cubicBezTo>
                  <a:pt x="3042" y="6047"/>
                  <a:pt x="3221" y="6117"/>
                  <a:pt x="3372" y="6205"/>
                </a:cubicBezTo>
                <a:cubicBezTo>
                  <a:pt x="3447" y="6252"/>
                  <a:pt x="3504" y="6280"/>
                  <a:pt x="3542" y="6292"/>
                </a:cubicBezTo>
                <a:cubicBezTo>
                  <a:pt x="3579" y="6304"/>
                  <a:pt x="3621" y="6309"/>
                  <a:pt x="3668" y="6309"/>
                </a:cubicBezTo>
                <a:cubicBezTo>
                  <a:pt x="3773" y="6309"/>
                  <a:pt x="3883" y="6252"/>
                  <a:pt x="3999" y="6135"/>
                </a:cubicBezTo>
                <a:cubicBezTo>
                  <a:pt x="4443" y="5673"/>
                  <a:pt x="4443" y="5673"/>
                  <a:pt x="4443" y="5673"/>
                </a:cubicBezTo>
                <a:cubicBezTo>
                  <a:pt x="4461" y="5656"/>
                  <a:pt x="4470" y="5636"/>
                  <a:pt x="4470" y="5613"/>
                </a:cubicBezTo>
                <a:cubicBezTo>
                  <a:pt x="4470" y="5583"/>
                  <a:pt x="4452" y="5551"/>
                  <a:pt x="4417" y="5517"/>
                </a:cubicBezTo>
                <a:cubicBezTo>
                  <a:pt x="4168" y="5290"/>
                  <a:pt x="3844" y="5113"/>
                  <a:pt x="3446" y="4985"/>
                </a:cubicBezTo>
                <a:cubicBezTo>
                  <a:pt x="3048" y="4858"/>
                  <a:pt x="2628" y="4794"/>
                  <a:pt x="2187" y="4794"/>
                </a:cubicBezTo>
                <a:cubicBezTo>
                  <a:pt x="1913" y="4794"/>
                  <a:pt x="1654" y="4819"/>
                  <a:pt x="1407" y="4872"/>
                </a:cubicBezTo>
                <a:cubicBezTo>
                  <a:pt x="1160" y="4924"/>
                  <a:pt x="941" y="5006"/>
                  <a:pt x="749" y="5116"/>
                </a:cubicBezTo>
                <a:cubicBezTo>
                  <a:pt x="558" y="5226"/>
                  <a:pt x="405" y="5370"/>
                  <a:pt x="292" y="5547"/>
                </a:cubicBezTo>
                <a:cubicBezTo>
                  <a:pt x="178" y="5724"/>
                  <a:pt x="122" y="5938"/>
                  <a:pt x="122" y="6188"/>
                </a:cubicBezTo>
                <a:cubicBezTo>
                  <a:pt x="122" y="6408"/>
                  <a:pt x="171" y="6597"/>
                  <a:pt x="270" y="6754"/>
                </a:cubicBezTo>
                <a:cubicBezTo>
                  <a:pt x="369" y="6911"/>
                  <a:pt x="505" y="7044"/>
                  <a:pt x="679" y="7154"/>
                </a:cubicBezTo>
                <a:cubicBezTo>
                  <a:pt x="854" y="7265"/>
                  <a:pt x="1060" y="7353"/>
                  <a:pt x="1298" y="7420"/>
                </a:cubicBezTo>
                <a:cubicBezTo>
                  <a:pt x="1536" y="7487"/>
                  <a:pt x="1795" y="7541"/>
                  <a:pt x="2074" y="7582"/>
                </a:cubicBezTo>
                <a:cubicBezTo>
                  <a:pt x="2277" y="7611"/>
                  <a:pt x="2442" y="7638"/>
                  <a:pt x="2570" y="7664"/>
                </a:cubicBezTo>
                <a:cubicBezTo>
                  <a:pt x="2698" y="7691"/>
                  <a:pt x="2800" y="7717"/>
                  <a:pt x="2875" y="7743"/>
                </a:cubicBezTo>
                <a:cubicBezTo>
                  <a:pt x="2950" y="7769"/>
                  <a:pt x="3002" y="7798"/>
                  <a:pt x="3028" y="7830"/>
                </a:cubicBezTo>
                <a:cubicBezTo>
                  <a:pt x="3054" y="7862"/>
                  <a:pt x="3067" y="7901"/>
                  <a:pt x="3067" y="7947"/>
                </a:cubicBezTo>
                <a:cubicBezTo>
                  <a:pt x="3067" y="8040"/>
                  <a:pt x="3010" y="8106"/>
                  <a:pt x="2897" y="8144"/>
                </a:cubicBezTo>
                <a:cubicBezTo>
                  <a:pt x="2784" y="8181"/>
                  <a:pt x="2634" y="8200"/>
                  <a:pt x="2448" y="8200"/>
                </a:cubicBezTo>
                <a:cubicBezTo>
                  <a:pt x="2140" y="8200"/>
                  <a:pt x="1879" y="8174"/>
                  <a:pt x="1664" y="8122"/>
                </a:cubicBezTo>
                <a:cubicBezTo>
                  <a:pt x="1449" y="8069"/>
                  <a:pt x="1263" y="7997"/>
                  <a:pt x="1106" y="7904"/>
                </a:cubicBezTo>
                <a:cubicBezTo>
                  <a:pt x="1031" y="7858"/>
                  <a:pt x="974" y="7829"/>
                  <a:pt x="937" y="7817"/>
                </a:cubicBezTo>
                <a:cubicBezTo>
                  <a:pt x="899" y="7805"/>
                  <a:pt x="857" y="7799"/>
                  <a:pt x="810" y="7799"/>
                </a:cubicBezTo>
                <a:cubicBezTo>
                  <a:pt x="705" y="7799"/>
                  <a:pt x="595" y="7858"/>
                  <a:pt x="479" y="7973"/>
                </a:cubicBezTo>
                <a:cubicBezTo>
                  <a:pt x="26" y="8444"/>
                  <a:pt x="26" y="8444"/>
                  <a:pt x="26" y="8444"/>
                </a:cubicBezTo>
                <a:cubicBezTo>
                  <a:pt x="9" y="8462"/>
                  <a:pt x="0" y="8482"/>
                  <a:pt x="0" y="8505"/>
                </a:cubicBezTo>
                <a:cubicBezTo>
                  <a:pt x="0" y="8534"/>
                  <a:pt x="17" y="8566"/>
                  <a:pt x="52" y="8601"/>
                </a:cubicBezTo>
                <a:cubicBezTo>
                  <a:pt x="163" y="8711"/>
                  <a:pt x="303" y="8812"/>
                  <a:pt x="475" y="8901"/>
                </a:cubicBezTo>
                <a:cubicBezTo>
                  <a:pt x="646" y="8991"/>
                  <a:pt x="840" y="9067"/>
                  <a:pt x="1059" y="9128"/>
                </a:cubicBezTo>
                <a:cubicBezTo>
                  <a:pt x="1277" y="9189"/>
                  <a:pt x="1513" y="9237"/>
                  <a:pt x="1769" y="9272"/>
                </a:cubicBezTo>
                <a:cubicBezTo>
                  <a:pt x="2024" y="9307"/>
                  <a:pt x="2292" y="9324"/>
                  <a:pt x="2570" y="9324"/>
                </a:cubicBezTo>
                <a:cubicBezTo>
                  <a:pt x="4409" y="9324"/>
                  <a:pt x="4409" y="9324"/>
                  <a:pt x="4409" y="9324"/>
                </a:cubicBezTo>
                <a:cubicBezTo>
                  <a:pt x="4438" y="9324"/>
                  <a:pt x="4458" y="9313"/>
                  <a:pt x="4470" y="9289"/>
                </a:cubicBezTo>
                <a:cubicBezTo>
                  <a:pt x="4475" y="9278"/>
                  <a:pt x="4478" y="9263"/>
                  <a:pt x="4478" y="9245"/>
                </a:cubicBezTo>
                <a:cubicBezTo>
                  <a:pt x="4478" y="8226"/>
                  <a:pt x="4478" y="8226"/>
                  <a:pt x="4478" y="8226"/>
                </a:cubicBezTo>
                <a:cubicBezTo>
                  <a:pt x="4478" y="7930"/>
                  <a:pt x="4443" y="7685"/>
                  <a:pt x="4374" y="7490"/>
                </a:cubicBezTo>
                <a:cubicBezTo>
                  <a:pt x="4304" y="7296"/>
                  <a:pt x="4205" y="7137"/>
                  <a:pt x="4077" y="7015"/>
                </a:cubicBezTo>
                <a:cubicBezTo>
                  <a:pt x="3950" y="6893"/>
                  <a:pt x="3795" y="6801"/>
                  <a:pt x="3612" y="6737"/>
                </a:cubicBezTo>
                <a:cubicBezTo>
                  <a:pt x="3429" y="6673"/>
                  <a:pt x="3224" y="6623"/>
                  <a:pt x="2997" y="6588"/>
                </a:cubicBezTo>
                <a:cubicBezTo>
                  <a:pt x="2527" y="6518"/>
                  <a:pt x="2155" y="6455"/>
                  <a:pt x="1882" y="6396"/>
                </a:cubicBezTo>
                <a:cubicBezTo>
                  <a:pt x="1609" y="6339"/>
                  <a:pt x="1473" y="6254"/>
                  <a:pt x="1473" y="6144"/>
                </a:cubicBezTo>
                <a:cubicBezTo>
                  <a:pt x="1473" y="5987"/>
                  <a:pt x="1693" y="5909"/>
                  <a:pt x="2135" y="5909"/>
                </a:cubicBezTo>
                <a:cubicBezTo>
                  <a:pt x="2396" y="5909"/>
                  <a:pt x="2630" y="5936"/>
                  <a:pt x="2836" y="5991"/>
                </a:cubicBezTo>
                <a:close/>
                <a:moveTo>
                  <a:pt x="14694" y="4880"/>
                </a:moveTo>
                <a:cubicBezTo>
                  <a:pt x="14624" y="4880"/>
                  <a:pt x="14589" y="4921"/>
                  <a:pt x="14589" y="5002"/>
                </a:cubicBezTo>
                <a:cubicBezTo>
                  <a:pt x="14589" y="6806"/>
                  <a:pt x="14589" y="6806"/>
                  <a:pt x="14589" y="6806"/>
                </a:cubicBezTo>
                <a:cubicBezTo>
                  <a:pt x="14589" y="7154"/>
                  <a:pt x="14662" y="7486"/>
                  <a:pt x="14808" y="7799"/>
                </a:cubicBezTo>
                <a:cubicBezTo>
                  <a:pt x="14953" y="8113"/>
                  <a:pt x="15145" y="8390"/>
                  <a:pt x="15386" y="8631"/>
                </a:cubicBezTo>
                <a:cubicBezTo>
                  <a:pt x="15628" y="8872"/>
                  <a:pt x="15905" y="9062"/>
                  <a:pt x="16219" y="9202"/>
                </a:cubicBezTo>
                <a:cubicBezTo>
                  <a:pt x="16532" y="9342"/>
                  <a:pt x="16857" y="9411"/>
                  <a:pt x="17195" y="9411"/>
                </a:cubicBezTo>
                <a:cubicBezTo>
                  <a:pt x="17485" y="9411"/>
                  <a:pt x="17748" y="9365"/>
                  <a:pt x="17983" y="9272"/>
                </a:cubicBezTo>
                <a:cubicBezTo>
                  <a:pt x="18218" y="9179"/>
                  <a:pt x="18420" y="9048"/>
                  <a:pt x="18589" y="8880"/>
                </a:cubicBezTo>
                <a:cubicBezTo>
                  <a:pt x="18757" y="8711"/>
                  <a:pt x="18888" y="8509"/>
                  <a:pt x="18981" y="8274"/>
                </a:cubicBezTo>
                <a:cubicBezTo>
                  <a:pt x="19074" y="8039"/>
                  <a:pt x="19121" y="7776"/>
                  <a:pt x="19121" y="7486"/>
                </a:cubicBezTo>
                <a:cubicBezTo>
                  <a:pt x="19121" y="7137"/>
                  <a:pt x="19048" y="6806"/>
                  <a:pt x="18902" y="6492"/>
                </a:cubicBezTo>
                <a:cubicBezTo>
                  <a:pt x="18757" y="6179"/>
                  <a:pt x="18564" y="5901"/>
                  <a:pt x="18323" y="5660"/>
                </a:cubicBezTo>
                <a:cubicBezTo>
                  <a:pt x="18082" y="5419"/>
                  <a:pt x="17804" y="5229"/>
                  <a:pt x="17491" y="5090"/>
                </a:cubicBezTo>
                <a:cubicBezTo>
                  <a:pt x="17177" y="4950"/>
                  <a:pt x="16852" y="4880"/>
                  <a:pt x="16515" y="4880"/>
                </a:cubicBezTo>
                <a:lnTo>
                  <a:pt x="14694" y="4880"/>
                </a:lnTo>
                <a:close/>
                <a:moveTo>
                  <a:pt x="16010" y="6240"/>
                </a:moveTo>
                <a:cubicBezTo>
                  <a:pt x="16143" y="6100"/>
                  <a:pt x="16315" y="6031"/>
                  <a:pt x="16524" y="6031"/>
                </a:cubicBezTo>
                <a:cubicBezTo>
                  <a:pt x="16686" y="6031"/>
                  <a:pt x="16849" y="6076"/>
                  <a:pt x="17011" y="6166"/>
                </a:cubicBezTo>
                <a:cubicBezTo>
                  <a:pt x="17174" y="6256"/>
                  <a:pt x="17321" y="6372"/>
                  <a:pt x="17452" y="6514"/>
                </a:cubicBezTo>
                <a:cubicBezTo>
                  <a:pt x="17582" y="6657"/>
                  <a:pt x="17690" y="6815"/>
                  <a:pt x="17774" y="6989"/>
                </a:cubicBezTo>
                <a:cubicBezTo>
                  <a:pt x="17858" y="7163"/>
                  <a:pt x="17900" y="7338"/>
                  <a:pt x="17900" y="7512"/>
                </a:cubicBezTo>
                <a:cubicBezTo>
                  <a:pt x="17900" y="7732"/>
                  <a:pt x="17835" y="7913"/>
                  <a:pt x="17704" y="8052"/>
                </a:cubicBezTo>
                <a:cubicBezTo>
                  <a:pt x="17574" y="8191"/>
                  <a:pt x="17401" y="8262"/>
                  <a:pt x="17186" y="8262"/>
                </a:cubicBezTo>
                <a:cubicBezTo>
                  <a:pt x="17023" y="8262"/>
                  <a:pt x="16861" y="8216"/>
                  <a:pt x="16698" y="8126"/>
                </a:cubicBezTo>
                <a:cubicBezTo>
                  <a:pt x="16535" y="8036"/>
                  <a:pt x="16389" y="7920"/>
                  <a:pt x="16258" y="7777"/>
                </a:cubicBezTo>
                <a:cubicBezTo>
                  <a:pt x="16128" y="7635"/>
                  <a:pt x="16020" y="7477"/>
                  <a:pt x="15936" y="7303"/>
                </a:cubicBezTo>
                <a:cubicBezTo>
                  <a:pt x="15851" y="7128"/>
                  <a:pt x="15810" y="6954"/>
                  <a:pt x="15810" y="6780"/>
                </a:cubicBezTo>
                <a:cubicBezTo>
                  <a:pt x="15810" y="6560"/>
                  <a:pt x="15876" y="6379"/>
                  <a:pt x="16010" y="6240"/>
                </a:cubicBezTo>
                <a:close/>
                <a:moveTo>
                  <a:pt x="20692" y="5081"/>
                </a:moveTo>
                <a:cubicBezTo>
                  <a:pt x="20570" y="4947"/>
                  <a:pt x="20410" y="4880"/>
                  <a:pt x="20212" y="4880"/>
                </a:cubicBezTo>
                <a:cubicBezTo>
                  <a:pt x="19664" y="4880"/>
                  <a:pt x="19664" y="4880"/>
                  <a:pt x="19664" y="4880"/>
                </a:cubicBezTo>
                <a:cubicBezTo>
                  <a:pt x="19594" y="4880"/>
                  <a:pt x="19560" y="4921"/>
                  <a:pt x="19560" y="5002"/>
                </a:cubicBezTo>
                <a:cubicBezTo>
                  <a:pt x="19560" y="8636"/>
                  <a:pt x="19560" y="8636"/>
                  <a:pt x="19560" y="8636"/>
                </a:cubicBezTo>
                <a:cubicBezTo>
                  <a:pt x="19560" y="8851"/>
                  <a:pt x="19620" y="9019"/>
                  <a:pt x="19742" y="9141"/>
                </a:cubicBezTo>
                <a:cubicBezTo>
                  <a:pt x="19864" y="9263"/>
                  <a:pt x="20032" y="9324"/>
                  <a:pt x="20248" y="9324"/>
                </a:cubicBezTo>
                <a:cubicBezTo>
                  <a:pt x="20674" y="9324"/>
                  <a:pt x="20674" y="9324"/>
                  <a:pt x="20674" y="9324"/>
                </a:cubicBezTo>
                <a:cubicBezTo>
                  <a:pt x="20744" y="9324"/>
                  <a:pt x="20779" y="9283"/>
                  <a:pt x="20779" y="9202"/>
                </a:cubicBezTo>
                <a:cubicBezTo>
                  <a:pt x="20779" y="6841"/>
                  <a:pt x="20779" y="6841"/>
                  <a:pt x="20779" y="6841"/>
                </a:cubicBezTo>
                <a:cubicBezTo>
                  <a:pt x="22905" y="9124"/>
                  <a:pt x="22905" y="9124"/>
                  <a:pt x="22905" y="9124"/>
                </a:cubicBezTo>
                <a:cubicBezTo>
                  <a:pt x="23027" y="9257"/>
                  <a:pt x="23186" y="9324"/>
                  <a:pt x="23384" y="9324"/>
                </a:cubicBezTo>
                <a:cubicBezTo>
                  <a:pt x="23898" y="9324"/>
                  <a:pt x="23898" y="9324"/>
                  <a:pt x="23898" y="9324"/>
                </a:cubicBezTo>
                <a:cubicBezTo>
                  <a:pt x="23968" y="9324"/>
                  <a:pt x="24003" y="9283"/>
                  <a:pt x="24003" y="9202"/>
                </a:cubicBezTo>
                <a:cubicBezTo>
                  <a:pt x="24003" y="5569"/>
                  <a:pt x="24003" y="5569"/>
                  <a:pt x="24003" y="5569"/>
                </a:cubicBezTo>
                <a:cubicBezTo>
                  <a:pt x="24003" y="5354"/>
                  <a:pt x="23942" y="5186"/>
                  <a:pt x="23820" y="5063"/>
                </a:cubicBezTo>
                <a:cubicBezTo>
                  <a:pt x="23697" y="4942"/>
                  <a:pt x="23529" y="4880"/>
                  <a:pt x="23314" y="4880"/>
                </a:cubicBezTo>
                <a:cubicBezTo>
                  <a:pt x="22887" y="4880"/>
                  <a:pt x="22887" y="4880"/>
                  <a:pt x="22887" y="4880"/>
                </a:cubicBezTo>
                <a:cubicBezTo>
                  <a:pt x="22818" y="4880"/>
                  <a:pt x="22783" y="4921"/>
                  <a:pt x="22783" y="5002"/>
                </a:cubicBezTo>
                <a:cubicBezTo>
                  <a:pt x="22783" y="6370"/>
                  <a:pt x="22783" y="6370"/>
                  <a:pt x="22783" y="6370"/>
                </a:cubicBezTo>
                <a:cubicBezTo>
                  <a:pt x="22783" y="6487"/>
                  <a:pt x="22755" y="6581"/>
                  <a:pt x="22700" y="6653"/>
                </a:cubicBezTo>
                <a:cubicBezTo>
                  <a:pt x="22645" y="6726"/>
                  <a:pt x="22562" y="6763"/>
                  <a:pt x="22452" y="6763"/>
                </a:cubicBezTo>
                <a:cubicBezTo>
                  <a:pt x="22318" y="6763"/>
                  <a:pt x="22196" y="6702"/>
                  <a:pt x="22086" y="6579"/>
                </a:cubicBezTo>
                <a:lnTo>
                  <a:pt x="20692" y="5081"/>
                </a:lnTo>
                <a:close/>
                <a:moveTo>
                  <a:pt x="24672" y="4880"/>
                </a:moveTo>
                <a:cubicBezTo>
                  <a:pt x="24602" y="4880"/>
                  <a:pt x="24568" y="4921"/>
                  <a:pt x="24568" y="5002"/>
                </a:cubicBezTo>
                <a:cubicBezTo>
                  <a:pt x="24568" y="6806"/>
                  <a:pt x="24568" y="6806"/>
                  <a:pt x="24568" y="6806"/>
                </a:cubicBezTo>
                <a:cubicBezTo>
                  <a:pt x="24568" y="7154"/>
                  <a:pt x="24640" y="7486"/>
                  <a:pt x="24786" y="7799"/>
                </a:cubicBezTo>
                <a:cubicBezTo>
                  <a:pt x="24930" y="8113"/>
                  <a:pt x="25124" y="8390"/>
                  <a:pt x="25365" y="8631"/>
                </a:cubicBezTo>
                <a:cubicBezTo>
                  <a:pt x="25606" y="8872"/>
                  <a:pt x="25883" y="9062"/>
                  <a:pt x="26197" y="9202"/>
                </a:cubicBezTo>
                <a:cubicBezTo>
                  <a:pt x="26510" y="9342"/>
                  <a:pt x="26836" y="9411"/>
                  <a:pt x="27172" y="9411"/>
                </a:cubicBezTo>
                <a:cubicBezTo>
                  <a:pt x="27463" y="9411"/>
                  <a:pt x="27726" y="9365"/>
                  <a:pt x="27961" y="9272"/>
                </a:cubicBezTo>
                <a:cubicBezTo>
                  <a:pt x="28196" y="9179"/>
                  <a:pt x="28398" y="9048"/>
                  <a:pt x="28567" y="8880"/>
                </a:cubicBezTo>
                <a:cubicBezTo>
                  <a:pt x="28735" y="8711"/>
                  <a:pt x="28866" y="8509"/>
                  <a:pt x="28959" y="8274"/>
                </a:cubicBezTo>
                <a:cubicBezTo>
                  <a:pt x="29052" y="8039"/>
                  <a:pt x="29098" y="7776"/>
                  <a:pt x="29098" y="7486"/>
                </a:cubicBezTo>
                <a:cubicBezTo>
                  <a:pt x="29098" y="7137"/>
                  <a:pt x="29026" y="6806"/>
                  <a:pt x="28880" y="6492"/>
                </a:cubicBezTo>
                <a:cubicBezTo>
                  <a:pt x="28735" y="6179"/>
                  <a:pt x="28542" y="5901"/>
                  <a:pt x="28301" y="5660"/>
                </a:cubicBezTo>
                <a:cubicBezTo>
                  <a:pt x="28060" y="5419"/>
                  <a:pt x="27783" y="5229"/>
                  <a:pt x="27469" y="5090"/>
                </a:cubicBezTo>
                <a:cubicBezTo>
                  <a:pt x="27155" y="4950"/>
                  <a:pt x="26830" y="4880"/>
                  <a:pt x="26493" y="4880"/>
                </a:cubicBezTo>
                <a:lnTo>
                  <a:pt x="24672" y="4880"/>
                </a:lnTo>
                <a:close/>
                <a:moveTo>
                  <a:pt x="25988" y="6240"/>
                </a:moveTo>
                <a:cubicBezTo>
                  <a:pt x="26122" y="6100"/>
                  <a:pt x="26293" y="6031"/>
                  <a:pt x="26502" y="6031"/>
                </a:cubicBezTo>
                <a:cubicBezTo>
                  <a:pt x="26664" y="6031"/>
                  <a:pt x="26827" y="6076"/>
                  <a:pt x="26990" y="6166"/>
                </a:cubicBezTo>
                <a:cubicBezTo>
                  <a:pt x="27152" y="6256"/>
                  <a:pt x="27299" y="6372"/>
                  <a:pt x="27430" y="6514"/>
                </a:cubicBezTo>
                <a:cubicBezTo>
                  <a:pt x="27561" y="6657"/>
                  <a:pt x="27668" y="6815"/>
                  <a:pt x="27753" y="6989"/>
                </a:cubicBezTo>
                <a:cubicBezTo>
                  <a:pt x="27836" y="7163"/>
                  <a:pt x="27879" y="7338"/>
                  <a:pt x="27879" y="7512"/>
                </a:cubicBezTo>
                <a:cubicBezTo>
                  <a:pt x="27879" y="7732"/>
                  <a:pt x="27813" y="7913"/>
                  <a:pt x="27682" y="8052"/>
                </a:cubicBezTo>
                <a:cubicBezTo>
                  <a:pt x="27551" y="8191"/>
                  <a:pt x="27379" y="8262"/>
                  <a:pt x="27164" y="8262"/>
                </a:cubicBezTo>
                <a:cubicBezTo>
                  <a:pt x="27001" y="8262"/>
                  <a:pt x="26839" y="8216"/>
                  <a:pt x="26676" y="8126"/>
                </a:cubicBezTo>
                <a:cubicBezTo>
                  <a:pt x="26513" y="8036"/>
                  <a:pt x="26367" y="7920"/>
                  <a:pt x="26236" y="7777"/>
                </a:cubicBezTo>
                <a:cubicBezTo>
                  <a:pt x="26105" y="7635"/>
                  <a:pt x="25998" y="7477"/>
                  <a:pt x="25914" y="7303"/>
                </a:cubicBezTo>
                <a:cubicBezTo>
                  <a:pt x="25830" y="7128"/>
                  <a:pt x="25787" y="6954"/>
                  <a:pt x="25787" y="6780"/>
                </a:cubicBezTo>
                <a:cubicBezTo>
                  <a:pt x="25787" y="6560"/>
                  <a:pt x="25854" y="6379"/>
                  <a:pt x="25988" y="6240"/>
                </a:cubicBezTo>
                <a:close/>
                <a:moveTo>
                  <a:pt x="14313" y="654"/>
                </a:moveTo>
                <a:cubicBezTo>
                  <a:pt x="14313" y="293"/>
                  <a:pt x="14021" y="1"/>
                  <a:pt x="13660" y="1"/>
                </a:cubicBezTo>
                <a:cubicBezTo>
                  <a:pt x="12968" y="1"/>
                  <a:pt x="12968" y="1"/>
                  <a:pt x="12968" y="1"/>
                </a:cubicBezTo>
                <a:cubicBezTo>
                  <a:pt x="12933" y="1"/>
                  <a:pt x="12902" y="15"/>
                  <a:pt x="12879" y="37"/>
                </a:cubicBezTo>
                <a:cubicBezTo>
                  <a:pt x="11492" y="1339"/>
                  <a:pt x="11492" y="1339"/>
                  <a:pt x="11492" y="1339"/>
                </a:cubicBezTo>
                <a:cubicBezTo>
                  <a:pt x="11017" y="1785"/>
                  <a:pt x="10377" y="2036"/>
                  <a:pt x="9674" y="2036"/>
                </a:cubicBezTo>
                <a:cubicBezTo>
                  <a:pt x="8941" y="2036"/>
                  <a:pt x="8278" y="1762"/>
                  <a:pt x="7798" y="1282"/>
                </a:cubicBezTo>
                <a:cubicBezTo>
                  <a:pt x="7798" y="1282"/>
                  <a:pt x="6778" y="324"/>
                  <a:pt x="6769" y="316"/>
                </a:cubicBezTo>
                <a:cubicBezTo>
                  <a:pt x="6573" y="133"/>
                  <a:pt x="6304" y="8"/>
                  <a:pt x="5994" y="1"/>
                </a:cubicBezTo>
                <a:cubicBezTo>
                  <a:pt x="5165" y="1"/>
                  <a:pt x="5165" y="1"/>
                  <a:pt x="5165" y="1"/>
                </a:cubicBezTo>
                <a:cubicBezTo>
                  <a:pt x="5093" y="1"/>
                  <a:pt x="5035" y="59"/>
                  <a:pt x="5035" y="131"/>
                </a:cubicBezTo>
                <a:cubicBezTo>
                  <a:pt x="5035" y="3791"/>
                  <a:pt x="5035" y="3791"/>
                  <a:pt x="5035" y="3791"/>
                </a:cubicBezTo>
                <a:cubicBezTo>
                  <a:pt x="5035" y="4152"/>
                  <a:pt x="5327" y="4444"/>
                  <a:pt x="5688" y="4444"/>
                </a:cubicBezTo>
                <a:cubicBezTo>
                  <a:pt x="5941" y="4444"/>
                  <a:pt x="5941" y="4444"/>
                  <a:pt x="5941" y="4444"/>
                </a:cubicBezTo>
                <a:cubicBezTo>
                  <a:pt x="6112" y="4444"/>
                  <a:pt x="6112" y="4444"/>
                  <a:pt x="6112" y="4444"/>
                </a:cubicBezTo>
                <a:cubicBezTo>
                  <a:pt x="6184" y="4444"/>
                  <a:pt x="6243" y="4385"/>
                  <a:pt x="6243" y="4313"/>
                </a:cubicBezTo>
                <a:cubicBezTo>
                  <a:pt x="6243" y="3010"/>
                  <a:pt x="6243" y="3010"/>
                  <a:pt x="6243" y="3010"/>
                </a:cubicBezTo>
                <a:cubicBezTo>
                  <a:pt x="6243" y="2670"/>
                  <a:pt x="6521" y="2390"/>
                  <a:pt x="6856" y="2390"/>
                </a:cubicBezTo>
                <a:cubicBezTo>
                  <a:pt x="7479" y="2390"/>
                  <a:pt x="7926" y="2923"/>
                  <a:pt x="8330" y="3280"/>
                </a:cubicBezTo>
                <a:cubicBezTo>
                  <a:pt x="8825" y="3717"/>
                  <a:pt x="9205" y="4138"/>
                  <a:pt x="9674" y="4138"/>
                </a:cubicBezTo>
                <a:cubicBezTo>
                  <a:pt x="10142" y="4138"/>
                  <a:pt x="10523" y="3717"/>
                  <a:pt x="11018" y="3280"/>
                </a:cubicBezTo>
                <a:cubicBezTo>
                  <a:pt x="11422" y="2923"/>
                  <a:pt x="11869" y="2390"/>
                  <a:pt x="12492" y="2390"/>
                </a:cubicBezTo>
                <a:cubicBezTo>
                  <a:pt x="12825" y="2390"/>
                  <a:pt x="13101" y="2667"/>
                  <a:pt x="13104" y="3005"/>
                </a:cubicBezTo>
                <a:cubicBezTo>
                  <a:pt x="13104" y="3005"/>
                  <a:pt x="13104" y="3785"/>
                  <a:pt x="13104" y="3791"/>
                </a:cubicBezTo>
                <a:cubicBezTo>
                  <a:pt x="13104" y="4152"/>
                  <a:pt x="13397" y="4443"/>
                  <a:pt x="13758" y="4443"/>
                </a:cubicBezTo>
                <a:cubicBezTo>
                  <a:pt x="13758" y="4443"/>
                  <a:pt x="14030" y="4443"/>
                  <a:pt x="14040" y="4443"/>
                </a:cubicBezTo>
                <a:cubicBezTo>
                  <a:pt x="14114" y="4443"/>
                  <a:pt x="14182" y="4444"/>
                  <a:pt x="14182" y="4444"/>
                </a:cubicBezTo>
                <a:cubicBezTo>
                  <a:pt x="14182" y="4444"/>
                  <a:pt x="14182" y="4444"/>
                  <a:pt x="14182" y="4444"/>
                </a:cubicBezTo>
                <a:cubicBezTo>
                  <a:pt x="14255" y="4444"/>
                  <a:pt x="14313" y="4385"/>
                  <a:pt x="14313" y="4313"/>
                </a:cubicBezTo>
                <a:cubicBezTo>
                  <a:pt x="14313" y="4311"/>
                  <a:pt x="14313" y="685"/>
                  <a:pt x="14313" y="65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19F5C69-7959-4FC7-84B1-092551582DA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1255" t="9689" r="7454" b="7978"/>
          <a:stretch/>
        </p:blipFill>
        <p:spPr>
          <a:xfrm>
            <a:off x="0" y="1886856"/>
            <a:ext cx="5573486" cy="3744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8166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DCB9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1" name="Text Placeholder AP1 Details">
            <a:extLst>
              <a:ext uri="{FF2B5EF4-FFF2-40B4-BE49-F238E27FC236}">
                <a16:creationId xmlns:a16="http://schemas.microsoft.com/office/drawing/2014/main" id="{C79BA157-337C-448E-BD06-F2E6059814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680"/>
            <a:ext cx="2519767" cy="1655976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22" name="Text Placeholder AP1 Name">
            <a:extLst>
              <a:ext uri="{FF2B5EF4-FFF2-40B4-BE49-F238E27FC236}">
                <a16:creationId xmlns:a16="http://schemas.microsoft.com/office/drawing/2014/main" id="{4767AE3E-BA55-4D0F-9B00-7507CE2530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484784"/>
            <a:ext cx="251985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i="0" kern="1200" cap="none" baseline="0" noProof="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3" name="Text Placeholder AP1 Details">
            <a:extLst>
              <a:ext uri="{FF2B5EF4-FFF2-40B4-BE49-F238E27FC236}">
                <a16:creationId xmlns:a16="http://schemas.microsoft.com/office/drawing/2014/main" id="{4E25AFD2-BC03-4CA9-ADA6-9259311CEB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3483" y="4437320"/>
            <a:ext cx="2519767" cy="1655976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24" name="Text Placeholder AP1 Name">
            <a:extLst>
              <a:ext uri="{FF2B5EF4-FFF2-40B4-BE49-F238E27FC236}">
                <a16:creationId xmlns:a16="http://schemas.microsoft.com/office/drawing/2014/main" id="{E99B597B-5A5D-453D-BA59-9E21430B97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3392" y="3933424"/>
            <a:ext cx="251985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i="0" kern="1200" cap="none" baseline="0" noProof="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36" name="Text Placeholder AP1 Details">
            <a:extLst>
              <a:ext uri="{FF2B5EF4-FFF2-40B4-BE49-F238E27FC236}">
                <a16:creationId xmlns:a16="http://schemas.microsoft.com/office/drawing/2014/main" id="{5D01E36C-135A-4222-8595-E9375AA04E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31795" y="4436952"/>
            <a:ext cx="2519767" cy="1655976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37" name="Text Placeholder AP1 Name">
            <a:extLst>
              <a:ext uri="{FF2B5EF4-FFF2-40B4-BE49-F238E27FC236}">
                <a16:creationId xmlns:a16="http://schemas.microsoft.com/office/drawing/2014/main" id="{02417E19-3B69-4B9D-845C-6895CBD40A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431704" y="3933056"/>
            <a:ext cx="251985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i="0" kern="1200" cap="none" baseline="0" noProof="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D1E8A7DA-A60F-4BAB-A076-26355DA7DA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10438" y="3938289"/>
            <a:ext cx="4273028" cy="2164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664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hteck 55">
            <a:extLst>
              <a:ext uri="{FF2B5EF4-FFF2-40B4-BE49-F238E27FC236}">
                <a16:creationId xmlns:a16="http://schemas.microsoft.com/office/drawing/2014/main" id="{251E8E59-29AE-4CCD-BE18-3431CAC9BF47}"/>
              </a:ext>
            </a:extLst>
          </p:cNvPr>
          <p:cNvSpPr/>
          <p:nvPr/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8" name="Freihandform: Form 67">
            <a:extLst>
              <a:ext uri="{FF2B5EF4-FFF2-40B4-BE49-F238E27FC236}">
                <a16:creationId xmlns:a16="http://schemas.microsoft.com/office/drawing/2014/main" id="{5BDD8D32-BDE3-4959-8EB5-4E55890A8E02}"/>
              </a:ext>
            </a:extLst>
          </p:cNvPr>
          <p:cNvSpPr/>
          <p:nvPr/>
        </p:nvSpPr>
        <p:spPr>
          <a:xfrm>
            <a:off x="9371098" y="0"/>
            <a:ext cx="2820902" cy="916322"/>
          </a:xfrm>
          <a:custGeom>
            <a:avLst/>
            <a:gdLst>
              <a:gd name="connsiteX0" fmla="*/ 0 w 2820902"/>
              <a:gd name="connsiteY0" fmla="*/ 0 h 916322"/>
              <a:gd name="connsiteX1" fmla="*/ 2820902 w 2820902"/>
              <a:gd name="connsiteY1" fmla="*/ 0 h 916322"/>
              <a:gd name="connsiteX2" fmla="*/ 2820902 w 2820902"/>
              <a:gd name="connsiteY2" fmla="*/ 916322 h 916322"/>
              <a:gd name="connsiteX3" fmla="*/ 561754 w 2820902"/>
              <a:gd name="connsiteY3" fmla="*/ 611337 h 916322"/>
              <a:gd name="connsiteX4" fmla="*/ 1803 w 2820902"/>
              <a:gd name="connsiteY4" fmla="*/ 29958 h 916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20902" h="916322">
                <a:moveTo>
                  <a:pt x="0" y="0"/>
                </a:moveTo>
                <a:lnTo>
                  <a:pt x="2820902" y="0"/>
                </a:lnTo>
                <a:lnTo>
                  <a:pt x="2820902" y="916322"/>
                </a:lnTo>
                <a:lnTo>
                  <a:pt x="561754" y="611337"/>
                </a:lnTo>
                <a:cubicBezTo>
                  <a:pt x="117119" y="551316"/>
                  <a:pt x="19435" y="226873"/>
                  <a:pt x="1803" y="29958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5" name="Freihandform: Form 64">
            <a:extLst>
              <a:ext uri="{FF2B5EF4-FFF2-40B4-BE49-F238E27FC236}">
                <a16:creationId xmlns:a16="http://schemas.microsoft.com/office/drawing/2014/main" id="{7F110E34-DF35-4C02-843D-136FFFA43FB6}"/>
              </a:ext>
            </a:extLst>
          </p:cNvPr>
          <p:cNvSpPr/>
          <p:nvPr/>
        </p:nvSpPr>
        <p:spPr>
          <a:xfrm>
            <a:off x="0" y="0"/>
            <a:ext cx="11291801" cy="6858000"/>
          </a:xfrm>
          <a:custGeom>
            <a:avLst/>
            <a:gdLst>
              <a:gd name="connsiteX0" fmla="*/ 0 w 11291801"/>
              <a:gd name="connsiteY0" fmla="*/ 0 h 6858000"/>
              <a:gd name="connsiteX1" fmla="*/ 5867242 w 11291801"/>
              <a:gd name="connsiteY1" fmla="*/ 0 h 6858000"/>
              <a:gd name="connsiteX2" fmla="*/ 10575361 w 11291801"/>
              <a:gd name="connsiteY2" fmla="*/ 1327450 h 6858000"/>
              <a:gd name="connsiteX3" fmla="*/ 11256975 w 11291801"/>
              <a:gd name="connsiteY3" fmla="*/ 2544590 h 6858000"/>
              <a:gd name="connsiteX4" fmla="*/ 10040809 w 11291801"/>
              <a:gd name="connsiteY4" fmla="*/ 6858000 h 6858000"/>
              <a:gd name="connsiteX5" fmla="*/ 4679310 w 11291801"/>
              <a:gd name="connsiteY5" fmla="*/ 6858000 h 6858000"/>
              <a:gd name="connsiteX6" fmla="*/ 0 w 11291801"/>
              <a:gd name="connsiteY6" fmla="*/ 553867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91801" h="6858000">
                <a:moveTo>
                  <a:pt x="0" y="0"/>
                </a:moveTo>
                <a:lnTo>
                  <a:pt x="5867242" y="0"/>
                </a:lnTo>
                <a:lnTo>
                  <a:pt x="10575361" y="1327450"/>
                </a:lnTo>
                <a:cubicBezTo>
                  <a:pt x="11524738" y="1595213"/>
                  <a:pt x="11256975" y="2544590"/>
                  <a:pt x="11256975" y="2544590"/>
                </a:cubicBezTo>
                <a:lnTo>
                  <a:pt x="10040809" y="6858000"/>
                </a:lnTo>
                <a:lnTo>
                  <a:pt x="4679310" y="6858000"/>
                </a:lnTo>
                <a:lnTo>
                  <a:pt x="0" y="5538673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0" name="Freihandform: Form 69">
            <a:extLst>
              <a:ext uri="{FF2B5EF4-FFF2-40B4-BE49-F238E27FC236}">
                <a16:creationId xmlns:a16="http://schemas.microsoft.com/office/drawing/2014/main" id="{25C4C6FE-34E8-4FF8-A5FA-19FB6A5A320F}"/>
              </a:ext>
            </a:extLst>
          </p:cNvPr>
          <p:cNvSpPr/>
          <p:nvPr/>
        </p:nvSpPr>
        <p:spPr>
          <a:xfrm>
            <a:off x="11590478" y="1561289"/>
            <a:ext cx="601522" cy="3171132"/>
          </a:xfrm>
          <a:custGeom>
            <a:avLst/>
            <a:gdLst>
              <a:gd name="connsiteX0" fmla="*/ 601522 w 601522"/>
              <a:gd name="connsiteY0" fmla="*/ 0 h 3171132"/>
              <a:gd name="connsiteX1" fmla="*/ 601522 w 601522"/>
              <a:gd name="connsiteY1" fmla="*/ 3171132 h 3171132"/>
              <a:gd name="connsiteX2" fmla="*/ 385348 w 601522"/>
              <a:gd name="connsiteY2" fmla="*/ 3146832 h 3171132"/>
              <a:gd name="connsiteX3" fmla="*/ 1636 w 601522"/>
              <a:gd name="connsiteY3" fmla="*/ 2665854 h 3171132"/>
              <a:gd name="connsiteX4" fmla="*/ 258814 w 601522"/>
              <a:gd name="connsiteY4" fmla="*/ 376411 h 3171132"/>
              <a:gd name="connsiteX5" fmla="*/ 600415 w 601522"/>
              <a:gd name="connsiteY5" fmla="*/ 129 h 3171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1522" h="3171132">
                <a:moveTo>
                  <a:pt x="601522" y="0"/>
                </a:moveTo>
                <a:lnTo>
                  <a:pt x="601522" y="3171132"/>
                </a:lnTo>
                <a:lnTo>
                  <a:pt x="385348" y="3146832"/>
                </a:lnTo>
                <a:cubicBezTo>
                  <a:pt x="-46934" y="3098259"/>
                  <a:pt x="1636" y="2665854"/>
                  <a:pt x="1636" y="2665854"/>
                </a:cubicBezTo>
                <a:lnTo>
                  <a:pt x="258814" y="376411"/>
                </a:lnTo>
                <a:cubicBezTo>
                  <a:pt x="289171" y="106236"/>
                  <a:pt x="469464" y="23893"/>
                  <a:pt x="600415" y="129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21197233-897C-41D4-9C30-F6F736C304FC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033488 w 12192000"/>
              <a:gd name="connsiteY1" fmla="*/ 0 h 6858000"/>
              <a:gd name="connsiteX2" fmla="*/ 3724975 w 12192000"/>
              <a:gd name="connsiteY2" fmla="*/ 269476 h 6858000"/>
              <a:gd name="connsiteX3" fmla="*/ 3080894 w 12192000"/>
              <a:gd name="connsiteY3" fmla="*/ 1247045 h 6858000"/>
              <a:gd name="connsiteX4" fmla="*/ 3920436 w 12192000"/>
              <a:gd name="connsiteY4" fmla="*/ 5316609 h 6858000"/>
              <a:gd name="connsiteX5" fmla="*/ 4898005 w 12192000"/>
              <a:gd name="connsiteY5" fmla="*/ 5960691 h 6858000"/>
              <a:gd name="connsiteX6" fmla="*/ 12192000 w 12192000"/>
              <a:gd name="connsiteY6" fmla="*/ 4459702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033488" y="0"/>
                </a:lnTo>
                <a:lnTo>
                  <a:pt x="3724975" y="269476"/>
                </a:lnTo>
                <a:cubicBezTo>
                  <a:pt x="2914150" y="436220"/>
                  <a:pt x="3080894" y="1247045"/>
                  <a:pt x="3080894" y="1247045"/>
                </a:cubicBezTo>
                <a:lnTo>
                  <a:pt x="3920436" y="5316609"/>
                </a:lnTo>
                <a:cubicBezTo>
                  <a:pt x="4087181" y="6127436"/>
                  <a:pt x="4898005" y="5960691"/>
                  <a:pt x="4898005" y="5960691"/>
                </a:cubicBezTo>
                <a:lnTo>
                  <a:pt x="12192000" y="4459702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DCB9"/>
          </a:solidFill>
          <a:ln w="9525" cap="flat" cmpd="sng" algn="ctr">
            <a:noFill/>
            <a:prstDash val="solid"/>
          </a:ln>
          <a:effectLst/>
        </p:spPr>
        <p:txBody>
          <a:bodyPr wrap="square" rtlCol="0" anchor="ctr" anchorCtr="0">
            <a:noAutofit/>
          </a:bodyPr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CEAC3525-663E-4607-85AE-F5786E32F89B}"/>
              </a:ext>
            </a:extLst>
          </p:cNvPr>
          <p:cNvSpPr/>
          <p:nvPr/>
        </p:nvSpPr>
        <p:spPr bwMode="gray">
          <a:xfrm>
            <a:off x="1" y="4282473"/>
            <a:ext cx="3725692" cy="2581891"/>
          </a:xfrm>
          <a:custGeom>
            <a:avLst/>
            <a:gdLst>
              <a:gd name="connsiteX0" fmla="*/ 2629322 w 3725692"/>
              <a:gd name="connsiteY0" fmla="*/ 286 h 2581891"/>
              <a:gd name="connsiteX1" fmla="*/ 3384875 w 3725692"/>
              <a:gd name="connsiteY1" fmla="*/ 652496 h 2581891"/>
              <a:gd name="connsiteX2" fmla="*/ 3725692 w 3725692"/>
              <a:gd name="connsiteY2" fmla="*/ 2581891 h 2581891"/>
              <a:gd name="connsiteX3" fmla="*/ 0 w 3725692"/>
              <a:gd name="connsiteY3" fmla="*/ 2581891 h 2581891"/>
              <a:gd name="connsiteX4" fmla="*/ 0 w 3725692"/>
              <a:gd name="connsiteY4" fmla="*/ 448448 h 2581891"/>
              <a:gd name="connsiteX5" fmla="*/ 2469797 w 3725692"/>
              <a:gd name="connsiteY5" fmla="*/ 12172 h 2581891"/>
              <a:gd name="connsiteX6" fmla="*/ 2629322 w 3725692"/>
              <a:gd name="connsiteY6" fmla="*/ 286 h 2581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5692" h="2581891">
                <a:moveTo>
                  <a:pt x="2629322" y="286"/>
                </a:moveTo>
                <a:cubicBezTo>
                  <a:pt x="2996517" y="10203"/>
                  <a:pt x="3318488" y="276672"/>
                  <a:pt x="3384875" y="652496"/>
                </a:cubicBezTo>
                <a:lnTo>
                  <a:pt x="3725692" y="2581891"/>
                </a:lnTo>
                <a:lnTo>
                  <a:pt x="0" y="2581891"/>
                </a:lnTo>
                <a:lnTo>
                  <a:pt x="0" y="448448"/>
                </a:lnTo>
                <a:lnTo>
                  <a:pt x="2469797" y="12172"/>
                </a:lnTo>
                <a:cubicBezTo>
                  <a:pt x="2523486" y="2688"/>
                  <a:pt x="2576866" y="-1131"/>
                  <a:pt x="2629322" y="286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776" y="3597205"/>
            <a:ext cx="655319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80416" y="2877197"/>
            <a:ext cx="6552559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80416" y="1484784"/>
            <a:ext cx="6552559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32" name="Rechteck 18">
            <a:extLst>
              <a:ext uri="{FF2B5EF4-FFF2-40B4-BE49-F238E27FC236}">
                <a16:creationId xmlns:a16="http://schemas.microsoft.com/office/drawing/2014/main" id="{E45615FC-E174-4406-8E7A-581987B9FA1C}"/>
              </a:ext>
            </a:extLst>
          </p:cNvPr>
          <p:cNvSpPr/>
          <p:nvPr/>
        </p:nvSpPr>
        <p:spPr bwMode="gray">
          <a:xfrm>
            <a:off x="4080417" y="404664"/>
            <a:ext cx="3095084" cy="21602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 algn="l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chemeClr val="accent1"/>
                </a:solidFill>
                <a:latin typeface="+mn-lt"/>
              </a:rPr>
              <a:t>The Healthcare business of Merck KGaA, Darmstadt, Germany operates as EMD Serono in the U.S. and Canada.</a:t>
            </a:r>
          </a:p>
        </p:txBody>
      </p:sp>
      <p:sp>
        <p:nvSpPr>
          <p:cNvPr id="34" name="Rechteck 19">
            <a:extLst>
              <a:ext uri="{FF2B5EF4-FFF2-40B4-BE49-F238E27FC236}">
                <a16:creationId xmlns:a16="http://schemas.microsoft.com/office/drawing/2014/main" id="{73D0ECFC-451F-4ECD-81F5-7D3060028AF7}"/>
              </a:ext>
            </a:extLst>
          </p:cNvPr>
          <p:cNvSpPr/>
          <p:nvPr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1" name="Freeform 9">
            <a:extLst>
              <a:ext uri="{FF2B5EF4-FFF2-40B4-BE49-F238E27FC236}">
                <a16:creationId xmlns:a16="http://schemas.microsoft.com/office/drawing/2014/main" id="{4BA986EE-5E14-444A-91AC-6A364B4C5900}"/>
              </a:ext>
            </a:extLst>
          </p:cNvPr>
          <p:cNvSpPr>
            <a:spLocks noEditPoints="1"/>
          </p:cNvSpPr>
          <p:nvPr/>
        </p:nvSpPr>
        <p:spPr bwMode="auto">
          <a:xfrm>
            <a:off x="10422509" y="6093296"/>
            <a:ext cx="1367855" cy="441875"/>
          </a:xfrm>
          <a:custGeom>
            <a:avLst/>
            <a:gdLst>
              <a:gd name="T0" fmla="*/ 13061 w 29098"/>
              <a:gd name="T1" fmla="*/ 9162 h 9411"/>
              <a:gd name="T2" fmla="*/ 11664 w 29098"/>
              <a:gd name="T3" fmla="*/ 7057 h 9411"/>
              <a:gd name="T4" fmla="*/ 11001 w 29098"/>
              <a:gd name="T5" fmla="*/ 6227 h 9411"/>
              <a:gd name="T6" fmla="*/ 10360 w 29098"/>
              <a:gd name="T7" fmla="*/ 9281 h 9411"/>
              <a:gd name="T8" fmla="*/ 9758 w 29098"/>
              <a:gd name="T9" fmla="*/ 8651 h 9411"/>
              <a:gd name="T10" fmla="*/ 12545 w 29098"/>
              <a:gd name="T11" fmla="*/ 5032 h 9411"/>
              <a:gd name="T12" fmla="*/ 13333 w 29098"/>
              <a:gd name="T13" fmla="*/ 7961 h 9411"/>
              <a:gd name="T14" fmla="*/ 7385 w 29098"/>
              <a:gd name="T15" fmla="*/ 8170 h 9411"/>
              <a:gd name="T16" fmla="*/ 6282 w 29098"/>
              <a:gd name="T17" fmla="*/ 6221 h 9411"/>
              <a:gd name="T18" fmla="*/ 7535 w 29098"/>
              <a:gd name="T19" fmla="*/ 6225 h 9411"/>
              <a:gd name="T20" fmla="*/ 7547 w 29098"/>
              <a:gd name="T21" fmla="*/ 7685 h 9411"/>
              <a:gd name="T22" fmla="*/ 8605 w 29098"/>
              <a:gd name="T23" fmla="*/ 5629 h 9411"/>
              <a:gd name="T24" fmla="*/ 4916 w 29098"/>
              <a:gd name="T25" fmla="*/ 6804 h 9411"/>
              <a:gd name="T26" fmla="*/ 9258 w 29098"/>
              <a:gd name="T27" fmla="*/ 9324 h 9411"/>
              <a:gd name="T28" fmla="*/ 4093 w 29098"/>
              <a:gd name="T29" fmla="*/ 2779 h 9411"/>
              <a:gd name="T30" fmla="*/ 1357 w 29098"/>
              <a:gd name="T31" fmla="*/ 1629 h 9411"/>
              <a:gd name="T32" fmla="*/ 4476 w 29098"/>
              <a:gd name="T33" fmla="*/ 688 h 9411"/>
              <a:gd name="T34" fmla="*/ 120 w 29098"/>
              <a:gd name="T35" fmla="*/ 2535 h 9411"/>
              <a:gd name="T36" fmla="*/ 4442 w 29098"/>
              <a:gd name="T37" fmla="*/ 4443 h 9411"/>
              <a:gd name="T38" fmla="*/ 2045 w 29098"/>
              <a:gd name="T39" fmla="*/ 3293 h 9411"/>
              <a:gd name="T40" fmla="*/ 18887 w 29098"/>
              <a:gd name="T41" fmla="*/ 3969 h 9411"/>
              <a:gd name="T42" fmla="*/ 16748 w 29098"/>
              <a:gd name="T43" fmla="*/ 0 h 9411"/>
              <a:gd name="T44" fmla="*/ 15563 w 29098"/>
              <a:gd name="T45" fmla="*/ 4443 h 9411"/>
              <a:gd name="T46" fmla="*/ 18186 w 29098"/>
              <a:gd name="T47" fmla="*/ 2614 h 9411"/>
              <a:gd name="T48" fmla="*/ 16265 w 29098"/>
              <a:gd name="T49" fmla="*/ 1355 h 9411"/>
              <a:gd name="T50" fmla="*/ 3542 w 29098"/>
              <a:gd name="T51" fmla="*/ 6292 h 9411"/>
              <a:gd name="T52" fmla="*/ 4417 w 29098"/>
              <a:gd name="T53" fmla="*/ 5517 h 9411"/>
              <a:gd name="T54" fmla="*/ 292 w 29098"/>
              <a:gd name="T55" fmla="*/ 5547 h 9411"/>
              <a:gd name="T56" fmla="*/ 2074 w 29098"/>
              <a:gd name="T57" fmla="*/ 7582 h 9411"/>
              <a:gd name="T58" fmla="*/ 2897 w 29098"/>
              <a:gd name="T59" fmla="*/ 8144 h 9411"/>
              <a:gd name="T60" fmla="*/ 810 w 29098"/>
              <a:gd name="T61" fmla="*/ 7799 h 9411"/>
              <a:gd name="T62" fmla="*/ 475 w 29098"/>
              <a:gd name="T63" fmla="*/ 8901 h 9411"/>
              <a:gd name="T64" fmla="*/ 4470 w 29098"/>
              <a:gd name="T65" fmla="*/ 9289 h 9411"/>
              <a:gd name="T66" fmla="*/ 3612 w 29098"/>
              <a:gd name="T67" fmla="*/ 6737 h 9411"/>
              <a:gd name="T68" fmla="*/ 2836 w 29098"/>
              <a:gd name="T69" fmla="*/ 5991 h 9411"/>
              <a:gd name="T70" fmla="*/ 15386 w 29098"/>
              <a:gd name="T71" fmla="*/ 8631 h 9411"/>
              <a:gd name="T72" fmla="*/ 18981 w 29098"/>
              <a:gd name="T73" fmla="*/ 8274 h 9411"/>
              <a:gd name="T74" fmla="*/ 16515 w 29098"/>
              <a:gd name="T75" fmla="*/ 4880 h 9411"/>
              <a:gd name="T76" fmla="*/ 17452 w 29098"/>
              <a:gd name="T77" fmla="*/ 6514 h 9411"/>
              <a:gd name="T78" fmla="*/ 16698 w 29098"/>
              <a:gd name="T79" fmla="*/ 8126 h 9411"/>
              <a:gd name="T80" fmla="*/ 20692 w 29098"/>
              <a:gd name="T81" fmla="*/ 5081 h 9411"/>
              <a:gd name="T82" fmla="*/ 19742 w 29098"/>
              <a:gd name="T83" fmla="*/ 9141 h 9411"/>
              <a:gd name="T84" fmla="*/ 22905 w 29098"/>
              <a:gd name="T85" fmla="*/ 9124 h 9411"/>
              <a:gd name="T86" fmla="*/ 23820 w 29098"/>
              <a:gd name="T87" fmla="*/ 5063 h 9411"/>
              <a:gd name="T88" fmla="*/ 22700 w 29098"/>
              <a:gd name="T89" fmla="*/ 6653 h 9411"/>
              <a:gd name="T90" fmla="*/ 24568 w 29098"/>
              <a:gd name="T91" fmla="*/ 5002 h 9411"/>
              <a:gd name="T92" fmla="*/ 27172 w 29098"/>
              <a:gd name="T93" fmla="*/ 9411 h 9411"/>
              <a:gd name="T94" fmla="*/ 28880 w 29098"/>
              <a:gd name="T95" fmla="*/ 6492 h 9411"/>
              <a:gd name="T96" fmla="*/ 25988 w 29098"/>
              <a:gd name="T97" fmla="*/ 6240 h 9411"/>
              <a:gd name="T98" fmla="*/ 27879 w 29098"/>
              <a:gd name="T99" fmla="*/ 7512 h 9411"/>
              <a:gd name="T100" fmla="*/ 25914 w 29098"/>
              <a:gd name="T101" fmla="*/ 7303 h 9411"/>
              <a:gd name="T102" fmla="*/ 12968 w 29098"/>
              <a:gd name="T103" fmla="*/ 1 h 9411"/>
              <a:gd name="T104" fmla="*/ 6769 w 29098"/>
              <a:gd name="T105" fmla="*/ 316 h 9411"/>
              <a:gd name="T106" fmla="*/ 5688 w 29098"/>
              <a:gd name="T107" fmla="*/ 4444 h 9411"/>
              <a:gd name="T108" fmla="*/ 6856 w 29098"/>
              <a:gd name="T109" fmla="*/ 2390 h 9411"/>
              <a:gd name="T110" fmla="*/ 13104 w 29098"/>
              <a:gd name="T111" fmla="*/ 3005 h 9411"/>
              <a:gd name="T112" fmla="*/ 14182 w 29098"/>
              <a:gd name="T113" fmla="*/ 4444 h 9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9098" h="9411">
                <a:moveTo>
                  <a:pt x="14591" y="8890"/>
                </a:moveTo>
                <a:cubicBezTo>
                  <a:pt x="14591" y="9198"/>
                  <a:pt x="14591" y="9198"/>
                  <a:pt x="14591" y="9198"/>
                </a:cubicBezTo>
                <a:cubicBezTo>
                  <a:pt x="14591" y="9279"/>
                  <a:pt x="14557" y="9324"/>
                  <a:pt x="14489" y="9324"/>
                </a:cubicBezTo>
                <a:cubicBezTo>
                  <a:pt x="13522" y="9323"/>
                  <a:pt x="13522" y="9323"/>
                  <a:pt x="13522" y="9323"/>
                </a:cubicBezTo>
                <a:cubicBezTo>
                  <a:pt x="13357" y="9323"/>
                  <a:pt x="13204" y="9266"/>
                  <a:pt x="13061" y="9162"/>
                </a:cubicBezTo>
                <a:cubicBezTo>
                  <a:pt x="13061" y="9162"/>
                  <a:pt x="11599" y="8009"/>
                  <a:pt x="11595" y="8005"/>
                </a:cubicBezTo>
                <a:cubicBezTo>
                  <a:pt x="11496" y="7918"/>
                  <a:pt x="11431" y="7774"/>
                  <a:pt x="11431" y="7610"/>
                </a:cubicBezTo>
                <a:cubicBezTo>
                  <a:pt x="11431" y="7609"/>
                  <a:pt x="11431" y="7134"/>
                  <a:pt x="11431" y="7134"/>
                </a:cubicBezTo>
                <a:cubicBezTo>
                  <a:pt x="11431" y="7053"/>
                  <a:pt x="11456" y="7013"/>
                  <a:pt x="11508" y="7013"/>
                </a:cubicBezTo>
                <a:cubicBezTo>
                  <a:pt x="11559" y="7013"/>
                  <a:pt x="11629" y="7046"/>
                  <a:pt x="11664" y="7057"/>
                </a:cubicBezTo>
                <a:cubicBezTo>
                  <a:pt x="11739" y="7084"/>
                  <a:pt x="11834" y="7110"/>
                  <a:pt x="11840" y="7111"/>
                </a:cubicBezTo>
                <a:cubicBezTo>
                  <a:pt x="11992" y="7160"/>
                  <a:pt x="12140" y="7185"/>
                  <a:pt x="12284" y="7185"/>
                </a:cubicBezTo>
                <a:cubicBezTo>
                  <a:pt x="12587" y="7185"/>
                  <a:pt x="12829" y="7051"/>
                  <a:pt x="12905" y="6835"/>
                </a:cubicBezTo>
                <a:cubicBezTo>
                  <a:pt x="12975" y="6636"/>
                  <a:pt x="12778" y="6174"/>
                  <a:pt x="12107" y="6005"/>
                </a:cubicBezTo>
                <a:cubicBezTo>
                  <a:pt x="11604" y="5877"/>
                  <a:pt x="11137" y="5976"/>
                  <a:pt x="11001" y="6227"/>
                </a:cubicBezTo>
                <a:cubicBezTo>
                  <a:pt x="11001" y="6227"/>
                  <a:pt x="10980" y="6266"/>
                  <a:pt x="10968" y="6306"/>
                </a:cubicBezTo>
                <a:cubicBezTo>
                  <a:pt x="10956" y="6345"/>
                  <a:pt x="10953" y="6404"/>
                  <a:pt x="10953" y="6427"/>
                </a:cubicBezTo>
                <a:cubicBezTo>
                  <a:pt x="10953" y="6427"/>
                  <a:pt x="10953" y="8221"/>
                  <a:pt x="10953" y="8246"/>
                </a:cubicBezTo>
                <a:cubicBezTo>
                  <a:pt x="10953" y="8519"/>
                  <a:pt x="10911" y="8773"/>
                  <a:pt x="10741" y="8996"/>
                </a:cubicBezTo>
                <a:cubicBezTo>
                  <a:pt x="10644" y="9125"/>
                  <a:pt x="10513" y="9231"/>
                  <a:pt x="10360" y="9281"/>
                </a:cubicBezTo>
                <a:cubicBezTo>
                  <a:pt x="10262" y="9312"/>
                  <a:pt x="10152" y="9324"/>
                  <a:pt x="10051" y="9324"/>
                </a:cubicBezTo>
                <a:cubicBezTo>
                  <a:pt x="9980" y="9324"/>
                  <a:pt x="9856" y="9320"/>
                  <a:pt x="9800" y="9290"/>
                </a:cubicBezTo>
                <a:cubicBezTo>
                  <a:pt x="9758" y="9267"/>
                  <a:pt x="9758" y="9222"/>
                  <a:pt x="9758" y="9180"/>
                </a:cubicBezTo>
                <a:cubicBezTo>
                  <a:pt x="9758" y="8881"/>
                  <a:pt x="9758" y="8881"/>
                  <a:pt x="9758" y="8881"/>
                </a:cubicBezTo>
                <a:cubicBezTo>
                  <a:pt x="9758" y="8651"/>
                  <a:pt x="9758" y="8651"/>
                  <a:pt x="9758" y="8651"/>
                </a:cubicBezTo>
                <a:cubicBezTo>
                  <a:pt x="9758" y="7985"/>
                  <a:pt x="9758" y="7985"/>
                  <a:pt x="9758" y="7985"/>
                </a:cubicBezTo>
                <a:cubicBezTo>
                  <a:pt x="9758" y="7985"/>
                  <a:pt x="9758" y="4984"/>
                  <a:pt x="9758" y="4977"/>
                </a:cubicBezTo>
                <a:cubicBezTo>
                  <a:pt x="9758" y="4924"/>
                  <a:pt x="9801" y="4880"/>
                  <a:pt x="9855" y="4880"/>
                </a:cubicBezTo>
                <a:cubicBezTo>
                  <a:pt x="9858" y="4880"/>
                  <a:pt x="11649" y="4880"/>
                  <a:pt x="11649" y="4880"/>
                </a:cubicBezTo>
                <a:cubicBezTo>
                  <a:pt x="11945" y="4880"/>
                  <a:pt x="12240" y="4931"/>
                  <a:pt x="12545" y="5032"/>
                </a:cubicBezTo>
                <a:cubicBezTo>
                  <a:pt x="12849" y="5134"/>
                  <a:pt x="13124" y="5271"/>
                  <a:pt x="13368" y="5445"/>
                </a:cubicBezTo>
                <a:cubicBezTo>
                  <a:pt x="13613" y="5619"/>
                  <a:pt x="13812" y="5824"/>
                  <a:pt x="13966" y="6059"/>
                </a:cubicBezTo>
                <a:cubicBezTo>
                  <a:pt x="14120" y="6294"/>
                  <a:pt x="14196" y="6545"/>
                  <a:pt x="14196" y="6812"/>
                </a:cubicBezTo>
                <a:cubicBezTo>
                  <a:pt x="14196" y="7096"/>
                  <a:pt x="14111" y="7323"/>
                  <a:pt x="13953" y="7504"/>
                </a:cubicBezTo>
                <a:cubicBezTo>
                  <a:pt x="13699" y="7795"/>
                  <a:pt x="13419" y="7907"/>
                  <a:pt x="13333" y="7961"/>
                </a:cubicBezTo>
                <a:cubicBezTo>
                  <a:pt x="13409" y="8021"/>
                  <a:pt x="13586" y="8161"/>
                  <a:pt x="13825" y="8350"/>
                </a:cubicBezTo>
                <a:cubicBezTo>
                  <a:pt x="14287" y="8715"/>
                  <a:pt x="14521" y="8780"/>
                  <a:pt x="14522" y="8780"/>
                </a:cubicBezTo>
                <a:cubicBezTo>
                  <a:pt x="14554" y="8793"/>
                  <a:pt x="14591" y="8842"/>
                  <a:pt x="14591" y="8890"/>
                </a:cubicBezTo>
                <a:close/>
                <a:moveTo>
                  <a:pt x="8674" y="8170"/>
                </a:moveTo>
                <a:cubicBezTo>
                  <a:pt x="7385" y="8170"/>
                  <a:pt x="7385" y="8170"/>
                  <a:pt x="7385" y="8170"/>
                </a:cubicBezTo>
                <a:cubicBezTo>
                  <a:pt x="7201" y="8170"/>
                  <a:pt x="7035" y="8122"/>
                  <a:pt x="6873" y="8053"/>
                </a:cubicBezTo>
                <a:cubicBezTo>
                  <a:pt x="6734" y="7994"/>
                  <a:pt x="6522" y="7809"/>
                  <a:pt x="6459" y="7739"/>
                </a:cubicBezTo>
                <a:cubicBezTo>
                  <a:pt x="6341" y="7609"/>
                  <a:pt x="6249" y="7458"/>
                  <a:pt x="6183" y="7287"/>
                </a:cubicBezTo>
                <a:cubicBezTo>
                  <a:pt x="6117" y="7116"/>
                  <a:pt x="6084" y="6940"/>
                  <a:pt x="6084" y="6760"/>
                </a:cubicBezTo>
                <a:cubicBezTo>
                  <a:pt x="6084" y="6529"/>
                  <a:pt x="6150" y="6349"/>
                  <a:pt x="6282" y="6221"/>
                </a:cubicBezTo>
                <a:cubicBezTo>
                  <a:pt x="6298" y="6206"/>
                  <a:pt x="6355" y="6158"/>
                  <a:pt x="6421" y="6119"/>
                </a:cubicBezTo>
                <a:cubicBezTo>
                  <a:pt x="6487" y="6081"/>
                  <a:pt x="6559" y="6061"/>
                  <a:pt x="6607" y="6051"/>
                </a:cubicBezTo>
                <a:cubicBezTo>
                  <a:pt x="6684" y="6033"/>
                  <a:pt x="6768" y="6022"/>
                  <a:pt x="6858" y="6022"/>
                </a:cubicBezTo>
                <a:cubicBezTo>
                  <a:pt x="6947" y="6022"/>
                  <a:pt x="7032" y="6033"/>
                  <a:pt x="7108" y="6051"/>
                </a:cubicBezTo>
                <a:cubicBezTo>
                  <a:pt x="7253" y="6079"/>
                  <a:pt x="7396" y="6137"/>
                  <a:pt x="7535" y="6225"/>
                </a:cubicBezTo>
                <a:cubicBezTo>
                  <a:pt x="7737" y="6352"/>
                  <a:pt x="7949" y="6546"/>
                  <a:pt x="8092" y="6732"/>
                </a:cubicBezTo>
                <a:cubicBezTo>
                  <a:pt x="6751" y="6732"/>
                  <a:pt x="6751" y="6732"/>
                  <a:pt x="6751" y="6732"/>
                </a:cubicBezTo>
                <a:cubicBezTo>
                  <a:pt x="6671" y="6732"/>
                  <a:pt x="6631" y="6767"/>
                  <a:pt x="6631" y="6837"/>
                </a:cubicBezTo>
                <a:cubicBezTo>
                  <a:pt x="6631" y="6976"/>
                  <a:pt x="6652" y="7066"/>
                  <a:pt x="6706" y="7178"/>
                </a:cubicBezTo>
                <a:cubicBezTo>
                  <a:pt x="6761" y="7291"/>
                  <a:pt x="7019" y="7685"/>
                  <a:pt x="7547" y="7685"/>
                </a:cubicBezTo>
                <a:cubicBezTo>
                  <a:pt x="8795" y="7686"/>
                  <a:pt x="8795" y="7686"/>
                  <a:pt x="8795" y="7686"/>
                </a:cubicBezTo>
                <a:cubicBezTo>
                  <a:pt x="9013" y="7686"/>
                  <a:pt x="9164" y="7628"/>
                  <a:pt x="9247" y="7512"/>
                </a:cubicBezTo>
                <a:cubicBezTo>
                  <a:pt x="9331" y="7396"/>
                  <a:pt x="9355" y="7296"/>
                  <a:pt x="9355" y="7139"/>
                </a:cubicBezTo>
                <a:cubicBezTo>
                  <a:pt x="9355" y="6884"/>
                  <a:pt x="9287" y="6634"/>
                  <a:pt x="9152" y="6365"/>
                </a:cubicBezTo>
                <a:cubicBezTo>
                  <a:pt x="9017" y="6095"/>
                  <a:pt x="8834" y="5850"/>
                  <a:pt x="8605" y="5629"/>
                </a:cubicBezTo>
                <a:cubicBezTo>
                  <a:pt x="8375" y="5409"/>
                  <a:pt x="8108" y="5229"/>
                  <a:pt x="7803" y="5090"/>
                </a:cubicBezTo>
                <a:cubicBezTo>
                  <a:pt x="7498" y="4951"/>
                  <a:pt x="7180" y="4880"/>
                  <a:pt x="6847" y="4880"/>
                </a:cubicBezTo>
                <a:cubicBezTo>
                  <a:pt x="6847" y="4880"/>
                  <a:pt x="5015" y="4880"/>
                  <a:pt x="5013" y="4880"/>
                </a:cubicBezTo>
                <a:cubicBezTo>
                  <a:pt x="4960" y="4880"/>
                  <a:pt x="4916" y="4924"/>
                  <a:pt x="4916" y="4977"/>
                </a:cubicBezTo>
                <a:cubicBezTo>
                  <a:pt x="4916" y="4985"/>
                  <a:pt x="4916" y="6804"/>
                  <a:pt x="4916" y="6804"/>
                </a:cubicBezTo>
                <a:cubicBezTo>
                  <a:pt x="4916" y="7146"/>
                  <a:pt x="4982" y="7470"/>
                  <a:pt x="5114" y="7774"/>
                </a:cubicBezTo>
                <a:cubicBezTo>
                  <a:pt x="5246" y="8079"/>
                  <a:pt x="5426" y="8346"/>
                  <a:pt x="5653" y="8575"/>
                </a:cubicBezTo>
                <a:cubicBezTo>
                  <a:pt x="5880" y="8804"/>
                  <a:pt x="6144" y="8985"/>
                  <a:pt x="6446" y="9119"/>
                </a:cubicBezTo>
                <a:cubicBezTo>
                  <a:pt x="6748" y="9252"/>
                  <a:pt x="7072" y="9324"/>
                  <a:pt x="7417" y="9324"/>
                </a:cubicBezTo>
                <a:cubicBezTo>
                  <a:pt x="9258" y="9324"/>
                  <a:pt x="9258" y="9324"/>
                  <a:pt x="9258" y="9324"/>
                </a:cubicBezTo>
                <a:cubicBezTo>
                  <a:pt x="9311" y="9324"/>
                  <a:pt x="9355" y="9281"/>
                  <a:pt x="9355" y="9228"/>
                </a:cubicBezTo>
                <a:cubicBezTo>
                  <a:pt x="9355" y="8858"/>
                  <a:pt x="9355" y="8858"/>
                  <a:pt x="9355" y="8858"/>
                </a:cubicBezTo>
                <a:cubicBezTo>
                  <a:pt x="9355" y="8643"/>
                  <a:pt x="9294" y="8475"/>
                  <a:pt x="9173" y="8353"/>
                </a:cubicBezTo>
                <a:cubicBezTo>
                  <a:pt x="9053" y="8231"/>
                  <a:pt x="8886" y="8170"/>
                  <a:pt x="8674" y="8170"/>
                </a:cubicBezTo>
                <a:close/>
                <a:moveTo>
                  <a:pt x="4093" y="2779"/>
                </a:moveTo>
                <a:cubicBezTo>
                  <a:pt x="4174" y="2779"/>
                  <a:pt x="4215" y="2744"/>
                  <a:pt x="4215" y="2675"/>
                </a:cubicBezTo>
                <a:cubicBezTo>
                  <a:pt x="4215" y="2317"/>
                  <a:pt x="4215" y="2317"/>
                  <a:pt x="4215" y="2317"/>
                </a:cubicBezTo>
                <a:cubicBezTo>
                  <a:pt x="4215" y="2103"/>
                  <a:pt x="4154" y="1934"/>
                  <a:pt x="4032" y="1812"/>
                </a:cubicBezTo>
                <a:cubicBezTo>
                  <a:pt x="3910" y="1690"/>
                  <a:pt x="3741" y="1629"/>
                  <a:pt x="3526" y="1629"/>
                </a:cubicBezTo>
                <a:cubicBezTo>
                  <a:pt x="1357" y="1629"/>
                  <a:pt x="1357" y="1629"/>
                  <a:pt x="1357" y="1629"/>
                </a:cubicBezTo>
                <a:cubicBezTo>
                  <a:pt x="1392" y="1484"/>
                  <a:pt x="1466" y="1368"/>
                  <a:pt x="1579" y="1281"/>
                </a:cubicBezTo>
                <a:cubicBezTo>
                  <a:pt x="1692" y="1194"/>
                  <a:pt x="1842" y="1150"/>
                  <a:pt x="2028" y="1150"/>
                </a:cubicBezTo>
                <a:cubicBezTo>
                  <a:pt x="4354" y="1150"/>
                  <a:pt x="4354" y="1150"/>
                  <a:pt x="4354" y="1150"/>
                </a:cubicBezTo>
                <a:cubicBezTo>
                  <a:pt x="4435" y="1150"/>
                  <a:pt x="4476" y="1115"/>
                  <a:pt x="4476" y="1045"/>
                </a:cubicBezTo>
                <a:cubicBezTo>
                  <a:pt x="4476" y="688"/>
                  <a:pt x="4476" y="688"/>
                  <a:pt x="4476" y="688"/>
                </a:cubicBezTo>
                <a:cubicBezTo>
                  <a:pt x="4476" y="473"/>
                  <a:pt x="4416" y="305"/>
                  <a:pt x="4293" y="183"/>
                </a:cubicBezTo>
                <a:cubicBezTo>
                  <a:pt x="4171" y="61"/>
                  <a:pt x="4003" y="0"/>
                  <a:pt x="3788" y="0"/>
                </a:cubicBezTo>
                <a:cubicBezTo>
                  <a:pt x="224" y="0"/>
                  <a:pt x="224" y="0"/>
                  <a:pt x="224" y="0"/>
                </a:cubicBezTo>
                <a:cubicBezTo>
                  <a:pt x="154" y="0"/>
                  <a:pt x="120" y="41"/>
                  <a:pt x="120" y="122"/>
                </a:cubicBezTo>
                <a:cubicBezTo>
                  <a:pt x="120" y="2535"/>
                  <a:pt x="120" y="2535"/>
                  <a:pt x="120" y="2535"/>
                </a:cubicBezTo>
                <a:cubicBezTo>
                  <a:pt x="120" y="2808"/>
                  <a:pt x="169" y="3063"/>
                  <a:pt x="268" y="3297"/>
                </a:cubicBezTo>
                <a:cubicBezTo>
                  <a:pt x="367" y="3533"/>
                  <a:pt x="504" y="3735"/>
                  <a:pt x="682" y="3903"/>
                </a:cubicBezTo>
                <a:cubicBezTo>
                  <a:pt x="859" y="4072"/>
                  <a:pt x="1071" y="4204"/>
                  <a:pt x="1318" y="4299"/>
                </a:cubicBezTo>
                <a:cubicBezTo>
                  <a:pt x="1565" y="4396"/>
                  <a:pt x="1833" y="4443"/>
                  <a:pt x="2124" y="4443"/>
                </a:cubicBezTo>
                <a:cubicBezTo>
                  <a:pt x="4442" y="4443"/>
                  <a:pt x="4442" y="4443"/>
                  <a:pt x="4442" y="4443"/>
                </a:cubicBezTo>
                <a:cubicBezTo>
                  <a:pt x="4523" y="4443"/>
                  <a:pt x="4563" y="4408"/>
                  <a:pt x="4563" y="4339"/>
                </a:cubicBezTo>
                <a:cubicBezTo>
                  <a:pt x="4563" y="3982"/>
                  <a:pt x="4563" y="3982"/>
                  <a:pt x="4563" y="3982"/>
                </a:cubicBezTo>
                <a:cubicBezTo>
                  <a:pt x="4563" y="3767"/>
                  <a:pt x="4502" y="3598"/>
                  <a:pt x="4380" y="3476"/>
                </a:cubicBezTo>
                <a:cubicBezTo>
                  <a:pt x="4259" y="3354"/>
                  <a:pt x="4090" y="3293"/>
                  <a:pt x="3875" y="3293"/>
                </a:cubicBezTo>
                <a:cubicBezTo>
                  <a:pt x="2045" y="3293"/>
                  <a:pt x="2045" y="3293"/>
                  <a:pt x="2045" y="3293"/>
                </a:cubicBezTo>
                <a:cubicBezTo>
                  <a:pt x="1871" y="3293"/>
                  <a:pt x="1723" y="3245"/>
                  <a:pt x="1601" y="3149"/>
                </a:cubicBezTo>
                <a:cubicBezTo>
                  <a:pt x="1479" y="3054"/>
                  <a:pt x="1398" y="2930"/>
                  <a:pt x="1357" y="2779"/>
                </a:cubicBezTo>
                <a:lnTo>
                  <a:pt x="4093" y="2779"/>
                </a:lnTo>
                <a:close/>
                <a:moveTo>
                  <a:pt x="17445" y="4443"/>
                </a:moveTo>
                <a:cubicBezTo>
                  <a:pt x="18061" y="4443"/>
                  <a:pt x="18541" y="4285"/>
                  <a:pt x="18887" y="3969"/>
                </a:cubicBezTo>
                <a:cubicBezTo>
                  <a:pt x="19233" y="3652"/>
                  <a:pt x="19406" y="3186"/>
                  <a:pt x="19406" y="2570"/>
                </a:cubicBezTo>
                <a:cubicBezTo>
                  <a:pt x="19406" y="2216"/>
                  <a:pt x="19332" y="1882"/>
                  <a:pt x="19183" y="1568"/>
                </a:cubicBezTo>
                <a:cubicBezTo>
                  <a:pt x="19036" y="1254"/>
                  <a:pt x="18838" y="981"/>
                  <a:pt x="18591" y="749"/>
                </a:cubicBezTo>
                <a:cubicBezTo>
                  <a:pt x="18344" y="517"/>
                  <a:pt x="18061" y="334"/>
                  <a:pt x="17741" y="200"/>
                </a:cubicBezTo>
                <a:cubicBezTo>
                  <a:pt x="17422" y="67"/>
                  <a:pt x="17091" y="0"/>
                  <a:pt x="16748" y="0"/>
                </a:cubicBezTo>
                <a:cubicBezTo>
                  <a:pt x="14980" y="0"/>
                  <a:pt x="14980" y="0"/>
                  <a:pt x="14980" y="0"/>
                </a:cubicBezTo>
                <a:cubicBezTo>
                  <a:pt x="14910" y="0"/>
                  <a:pt x="14875" y="41"/>
                  <a:pt x="14875" y="122"/>
                </a:cubicBezTo>
                <a:cubicBezTo>
                  <a:pt x="14875" y="3755"/>
                  <a:pt x="14875" y="3755"/>
                  <a:pt x="14875" y="3755"/>
                </a:cubicBezTo>
                <a:cubicBezTo>
                  <a:pt x="14875" y="3970"/>
                  <a:pt x="14936" y="4139"/>
                  <a:pt x="15058" y="4260"/>
                </a:cubicBezTo>
                <a:cubicBezTo>
                  <a:pt x="15180" y="4382"/>
                  <a:pt x="15349" y="4443"/>
                  <a:pt x="15563" y="4443"/>
                </a:cubicBezTo>
                <a:lnTo>
                  <a:pt x="17445" y="4443"/>
                </a:lnTo>
                <a:close/>
                <a:moveTo>
                  <a:pt x="17258" y="1276"/>
                </a:moveTo>
                <a:cubicBezTo>
                  <a:pt x="17429" y="1361"/>
                  <a:pt x="17583" y="1472"/>
                  <a:pt x="17720" y="1612"/>
                </a:cubicBezTo>
                <a:cubicBezTo>
                  <a:pt x="17856" y="1751"/>
                  <a:pt x="17968" y="1908"/>
                  <a:pt x="18055" y="2082"/>
                </a:cubicBezTo>
                <a:cubicBezTo>
                  <a:pt x="18142" y="2257"/>
                  <a:pt x="18186" y="2434"/>
                  <a:pt x="18186" y="2614"/>
                </a:cubicBezTo>
                <a:cubicBezTo>
                  <a:pt x="18186" y="2828"/>
                  <a:pt x="18115" y="2996"/>
                  <a:pt x="17973" y="3115"/>
                </a:cubicBezTo>
                <a:cubicBezTo>
                  <a:pt x="17830" y="3234"/>
                  <a:pt x="17657" y="3293"/>
                  <a:pt x="17454" y="3293"/>
                </a:cubicBezTo>
                <a:cubicBezTo>
                  <a:pt x="16095" y="3293"/>
                  <a:pt x="16095" y="3293"/>
                  <a:pt x="16095" y="3293"/>
                </a:cubicBezTo>
                <a:cubicBezTo>
                  <a:pt x="16095" y="1882"/>
                  <a:pt x="16095" y="1882"/>
                  <a:pt x="16095" y="1882"/>
                </a:cubicBezTo>
                <a:cubicBezTo>
                  <a:pt x="16095" y="1667"/>
                  <a:pt x="16151" y="1491"/>
                  <a:pt x="16265" y="1355"/>
                </a:cubicBezTo>
                <a:cubicBezTo>
                  <a:pt x="16378" y="1218"/>
                  <a:pt x="16536" y="1150"/>
                  <a:pt x="16739" y="1150"/>
                </a:cubicBezTo>
                <a:cubicBezTo>
                  <a:pt x="16914" y="1150"/>
                  <a:pt x="17087" y="1192"/>
                  <a:pt x="17258" y="1276"/>
                </a:cubicBezTo>
                <a:close/>
                <a:moveTo>
                  <a:pt x="2836" y="5991"/>
                </a:moveTo>
                <a:cubicBezTo>
                  <a:pt x="3042" y="6047"/>
                  <a:pt x="3221" y="6117"/>
                  <a:pt x="3372" y="6205"/>
                </a:cubicBezTo>
                <a:cubicBezTo>
                  <a:pt x="3447" y="6252"/>
                  <a:pt x="3504" y="6280"/>
                  <a:pt x="3542" y="6292"/>
                </a:cubicBezTo>
                <a:cubicBezTo>
                  <a:pt x="3579" y="6304"/>
                  <a:pt x="3621" y="6309"/>
                  <a:pt x="3668" y="6309"/>
                </a:cubicBezTo>
                <a:cubicBezTo>
                  <a:pt x="3773" y="6309"/>
                  <a:pt x="3883" y="6252"/>
                  <a:pt x="3999" y="6135"/>
                </a:cubicBezTo>
                <a:cubicBezTo>
                  <a:pt x="4443" y="5673"/>
                  <a:pt x="4443" y="5673"/>
                  <a:pt x="4443" y="5673"/>
                </a:cubicBezTo>
                <a:cubicBezTo>
                  <a:pt x="4461" y="5656"/>
                  <a:pt x="4470" y="5636"/>
                  <a:pt x="4470" y="5613"/>
                </a:cubicBezTo>
                <a:cubicBezTo>
                  <a:pt x="4470" y="5583"/>
                  <a:pt x="4452" y="5551"/>
                  <a:pt x="4417" y="5517"/>
                </a:cubicBezTo>
                <a:cubicBezTo>
                  <a:pt x="4168" y="5290"/>
                  <a:pt x="3844" y="5113"/>
                  <a:pt x="3446" y="4985"/>
                </a:cubicBezTo>
                <a:cubicBezTo>
                  <a:pt x="3048" y="4858"/>
                  <a:pt x="2628" y="4794"/>
                  <a:pt x="2187" y="4794"/>
                </a:cubicBezTo>
                <a:cubicBezTo>
                  <a:pt x="1913" y="4794"/>
                  <a:pt x="1654" y="4819"/>
                  <a:pt x="1407" y="4872"/>
                </a:cubicBezTo>
                <a:cubicBezTo>
                  <a:pt x="1160" y="4924"/>
                  <a:pt x="941" y="5006"/>
                  <a:pt x="749" y="5116"/>
                </a:cubicBezTo>
                <a:cubicBezTo>
                  <a:pt x="558" y="5226"/>
                  <a:pt x="405" y="5370"/>
                  <a:pt x="292" y="5547"/>
                </a:cubicBezTo>
                <a:cubicBezTo>
                  <a:pt x="178" y="5724"/>
                  <a:pt x="122" y="5938"/>
                  <a:pt x="122" y="6188"/>
                </a:cubicBezTo>
                <a:cubicBezTo>
                  <a:pt x="122" y="6408"/>
                  <a:pt x="171" y="6597"/>
                  <a:pt x="270" y="6754"/>
                </a:cubicBezTo>
                <a:cubicBezTo>
                  <a:pt x="369" y="6911"/>
                  <a:pt x="505" y="7044"/>
                  <a:pt x="679" y="7154"/>
                </a:cubicBezTo>
                <a:cubicBezTo>
                  <a:pt x="854" y="7265"/>
                  <a:pt x="1060" y="7353"/>
                  <a:pt x="1298" y="7420"/>
                </a:cubicBezTo>
                <a:cubicBezTo>
                  <a:pt x="1536" y="7487"/>
                  <a:pt x="1795" y="7541"/>
                  <a:pt x="2074" y="7582"/>
                </a:cubicBezTo>
                <a:cubicBezTo>
                  <a:pt x="2277" y="7611"/>
                  <a:pt x="2442" y="7638"/>
                  <a:pt x="2570" y="7664"/>
                </a:cubicBezTo>
                <a:cubicBezTo>
                  <a:pt x="2698" y="7691"/>
                  <a:pt x="2800" y="7717"/>
                  <a:pt x="2875" y="7743"/>
                </a:cubicBezTo>
                <a:cubicBezTo>
                  <a:pt x="2950" y="7769"/>
                  <a:pt x="3002" y="7798"/>
                  <a:pt x="3028" y="7830"/>
                </a:cubicBezTo>
                <a:cubicBezTo>
                  <a:pt x="3054" y="7862"/>
                  <a:pt x="3067" y="7901"/>
                  <a:pt x="3067" y="7947"/>
                </a:cubicBezTo>
                <a:cubicBezTo>
                  <a:pt x="3067" y="8040"/>
                  <a:pt x="3010" y="8106"/>
                  <a:pt x="2897" y="8144"/>
                </a:cubicBezTo>
                <a:cubicBezTo>
                  <a:pt x="2784" y="8181"/>
                  <a:pt x="2634" y="8200"/>
                  <a:pt x="2448" y="8200"/>
                </a:cubicBezTo>
                <a:cubicBezTo>
                  <a:pt x="2140" y="8200"/>
                  <a:pt x="1879" y="8174"/>
                  <a:pt x="1664" y="8122"/>
                </a:cubicBezTo>
                <a:cubicBezTo>
                  <a:pt x="1449" y="8069"/>
                  <a:pt x="1263" y="7997"/>
                  <a:pt x="1106" y="7904"/>
                </a:cubicBezTo>
                <a:cubicBezTo>
                  <a:pt x="1031" y="7858"/>
                  <a:pt x="974" y="7829"/>
                  <a:pt x="937" y="7817"/>
                </a:cubicBezTo>
                <a:cubicBezTo>
                  <a:pt x="899" y="7805"/>
                  <a:pt x="857" y="7799"/>
                  <a:pt x="810" y="7799"/>
                </a:cubicBezTo>
                <a:cubicBezTo>
                  <a:pt x="705" y="7799"/>
                  <a:pt x="595" y="7858"/>
                  <a:pt x="479" y="7973"/>
                </a:cubicBezTo>
                <a:cubicBezTo>
                  <a:pt x="26" y="8444"/>
                  <a:pt x="26" y="8444"/>
                  <a:pt x="26" y="8444"/>
                </a:cubicBezTo>
                <a:cubicBezTo>
                  <a:pt x="9" y="8462"/>
                  <a:pt x="0" y="8482"/>
                  <a:pt x="0" y="8505"/>
                </a:cubicBezTo>
                <a:cubicBezTo>
                  <a:pt x="0" y="8534"/>
                  <a:pt x="17" y="8566"/>
                  <a:pt x="52" y="8601"/>
                </a:cubicBezTo>
                <a:cubicBezTo>
                  <a:pt x="163" y="8711"/>
                  <a:pt x="303" y="8812"/>
                  <a:pt x="475" y="8901"/>
                </a:cubicBezTo>
                <a:cubicBezTo>
                  <a:pt x="646" y="8991"/>
                  <a:pt x="840" y="9067"/>
                  <a:pt x="1059" y="9128"/>
                </a:cubicBezTo>
                <a:cubicBezTo>
                  <a:pt x="1277" y="9189"/>
                  <a:pt x="1513" y="9237"/>
                  <a:pt x="1769" y="9272"/>
                </a:cubicBezTo>
                <a:cubicBezTo>
                  <a:pt x="2024" y="9307"/>
                  <a:pt x="2292" y="9324"/>
                  <a:pt x="2570" y="9324"/>
                </a:cubicBezTo>
                <a:cubicBezTo>
                  <a:pt x="4409" y="9324"/>
                  <a:pt x="4409" y="9324"/>
                  <a:pt x="4409" y="9324"/>
                </a:cubicBezTo>
                <a:cubicBezTo>
                  <a:pt x="4438" y="9324"/>
                  <a:pt x="4458" y="9313"/>
                  <a:pt x="4470" y="9289"/>
                </a:cubicBezTo>
                <a:cubicBezTo>
                  <a:pt x="4475" y="9278"/>
                  <a:pt x="4478" y="9263"/>
                  <a:pt x="4478" y="9245"/>
                </a:cubicBezTo>
                <a:cubicBezTo>
                  <a:pt x="4478" y="8226"/>
                  <a:pt x="4478" y="8226"/>
                  <a:pt x="4478" y="8226"/>
                </a:cubicBezTo>
                <a:cubicBezTo>
                  <a:pt x="4478" y="7930"/>
                  <a:pt x="4443" y="7685"/>
                  <a:pt x="4374" y="7490"/>
                </a:cubicBezTo>
                <a:cubicBezTo>
                  <a:pt x="4304" y="7296"/>
                  <a:pt x="4205" y="7137"/>
                  <a:pt x="4077" y="7015"/>
                </a:cubicBezTo>
                <a:cubicBezTo>
                  <a:pt x="3950" y="6893"/>
                  <a:pt x="3795" y="6801"/>
                  <a:pt x="3612" y="6737"/>
                </a:cubicBezTo>
                <a:cubicBezTo>
                  <a:pt x="3429" y="6673"/>
                  <a:pt x="3224" y="6623"/>
                  <a:pt x="2997" y="6588"/>
                </a:cubicBezTo>
                <a:cubicBezTo>
                  <a:pt x="2527" y="6518"/>
                  <a:pt x="2155" y="6455"/>
                  <a:pt x="1882" y="6396"/>
                </a:cubicBezTo>
                <a:cubicBezTo>
                  <a:pt x="1609" y="6339"/>
                  <a:pt x="1473" y="6254"/>
                  <a:pt x="1473" y="6144"/>
                </a:cubicBezTo>
                <a:cubicBezTo>
                  <a:pt x="1473" y="5987"/>
                  <a:pt x="1693" y="5909"/>
                  <a:pt x="2135" y="5909"/>
                </a:cubicBezTo>
                <a:cubicBezTo>
                  <a:pt x="2396" y="5909"/>
                  <a:pt x="2630" y="5936"/>
                  <a:pt x="2836" y="5991"/>
                </a:cubicBezTo>
                <a:close/>
                <a:moveTo>
                  <a:pt x="14694" y="4880"/>
                </a:moveTo>
                <a:cubicBezTo>
                  <a:pt x="14624" y="4880"/>
                  <a:pt x="14589" y="4921"/>
                  <a:pt x="14589" y="5002"/>
                </a:cubicBezTo>
                <a:cubicBezTo>
                  <a:pt x="14589" y="6806"/>
                  <a:pt x="14589" y="6806"/>
                  <a:pt x="14589" y="6806"/>
                </a:cubicBezTo>
                <a:cubicBezTo>
                  <a:pt x="14589" y="7154"/>
                  <a:pt x="14662" y="7486"/>
                  <a:pt x="14808" y="7799"/>
                </a:cubicBezTo>
                <a:cubicBezTo>
                  <a:pt x="14953" y="8113"/>
                  <a:pt x="15145" y="8390"/>
                  <a:pt x="15386" y="8631"/>
                </a:cubicBezTo>
                <a:cubicBezTo>
                  <a:pt x="15628" y="8872"/>
                  <a:pt x="15905" y="9062"/>
                  <a:pt x="16219" y="9202"/>
                </a:cubicBezTo>
                <a:cubicBezTo>
                  <a:pt x="16532" y="9342"/>
                  <a:pt x="16857" y="9411"/>
                  <a:pt x="17195" y="9411"/>
                </a:cubicBezTo>
                <a:cubicBezTo>
                  <a:pt x="17485" y="9411"/>
                  <a:pt x="17748" y="9365"/>
                  <a:pt x="17983" y="9272"/>
                </a:cubicBezTo>
                <a:cubicBezTo>
                  <a:pt x="18218" y="9179"/>
                  <a:pt x="18420" y="9048"/>
                  <a:pt x="18589" y="8880"/>
                </a:cubicBezTo>
                <a:cubicBezTo>
                  <a:pt x="18757" y="8711"/>
                  <a:pt x="18888" y="8509"/>
                  <a:pt x="18981" y="8274"/>
                </a:cubicBezTo>
                <a:cubicBezTo>
                  <a:pt x="19074" y="8039"/>
                  <a:pt x="19121" y="7776"/>
                  <a:pt x="19121" y="7486"/>
                </a:cubicBezTo>
                <a:cubicBezTo>
                  <a:pt x="19121" y="7137"/>
                  <a:pt x="19048" y="6806"/>
                  <a:pt x="18902" y="6492"/>
                </a:cubicBezTo>
                <a:cubicBezTo>
                  <a:pt x="18757" y="6179"/>
                  <a:pt x="18564" y="5901"/>
                  <a:pt x="18323" y="5660"/>
                </a:cubicBezTo>
                <a:cubicBezTo>
                  <a:pt x="18082" y="5419"/>
                  <a:pt x="17804" y="5229"/>
                  <a:pt x="17491" y="5090"/>
                </a:cubicBezTo>
                <a:cubicBezTo>
                  <a:pt x="17177" y="4950"/>
                  <a:pt x="16852" y="4880"/>
                  <a:pt x="16515" y="4880"/>
                </a:cubicBezTo>
                <a:lnTo>
                  <a:pt x="14694" y="4880"/>
                </a:lnTo>
                <a:close/>
                <a:moveTo>
                  <a:pt x="16010" y="6240"/>
                </a:moveTo>
                <a:cubicBezTo>
                  <a:pt x="16143" y="6100"/>
                  <a:pt x="16315" y="6031"/>
                  <a:pt x="16524" y="6031"/>
                </a:cubicBezTo>
                <a:cubicBezTo>
                  <a:pt x="16686" y="6031"/>
                  <a:pt x="16849" y="6076"/>
                  <a:pt x="17011" y="6166"/>
                </a:cubicBezTo>
                <a:cubicBezTo>
                  <a:pt x="17174" y="6256"/>
                  <a:pt x="17321" y="6372"/>
                  <a:pt x="17452" y="6514"/>
                </a:cubicBezTo>
                <a:cubicBezTo>
                  <a:pt x="17582" y="6657"/>
                  <a:pt x="17690" y="6815"/>
                  <a:pt x="17774" y="6989"/>
                </a:cubicBezTo>
                <a:cubicBezTo>
                  <a:pt x="17858" y="7163"/>
                  <a:pt x="17900" y="7338"/>
                  <a:pt x="17900" y="7512"/>
                </a:cubicBezTo>
                <a:cubicBezTo>
                  <a:pt x="17900" y="7732"/>
                  <a:pt x="17835" y="7913"/>
                  <a:pt x="17704" y="8052"/>
                </a:cubicBezTo>
                <a:cubicBezTo>
                  <a:pt x="17574" y="8191"/>
                  <a:pt x="17401" y="8262"/>
                  <a:pt x="17186" y="8262"/>
                </a:cubicBezTo>
                <a:cubicBezTo>
                  <a:pt x="17023" y="8262"/>
                  <a:pt x="16861" y="8216"/>
                  <a:pt x="16698" y="8126"/>
                </a:cubicBezTo>
                <a:cubicBezTo>
                  <a:pt x="16535" y="8036"/>
                  <a:pt x="16389" y="7920"/>
                  <a:pt x="16258" y="7777"/>
                </a:cubicBezTo>
                <a:cubicBezTo>
                  <a:pt x="16128" y="7635"/>
                  <a:pt x="16020" y="7477"/>
                  <a:pt x="15936" y="7303"/>
                </a:cubicBezTo>
                <a:cubicBezTo>
                  <a:pt x="15851" y="7128"/>
                  <a:pt x="15810" y="6954"/>
                  <a:pt x="15810" y="6780"/>
                </a:cubicBezTo>
                <a:cubicBezTo>
                  <a:pt x="15810" y="6560"/>
                  <a:pt x="15876" y="6379"/>
                  <a:pt x="16010" y="6240"/>
                </a:cubicBezTo>
                <a:close/>
                <a:moveTo>
                  <a:pt x="20692" y="5081"/>
                </a:moveTo>
                <a:cubicBezTo>
                  <a:pt x="20570" y="4947"/>
                  <a:pt x="20410" y="4880"/>
                  <a:pt x="20212" y="4880"/>
                </a:cubicBezTo>
                <a:cubicBezTo>
                  <a:pt x="19664" y="4880"/>
                  <a:pt x="19664" y="4880"/>
                  <a:pt x="19664" y="4880"/>
                </a:cubicBezTo>
                <a:cubicBezTo>
                  <a:pt x="19594" y="4880"/>
                  <a:pt x="19560" y="4921"/>
                  <a:pt x="19560" y="5002"/>
                </a:cubicBezTo>
                <a:cubicBezTo>
                  <a:pt x="19560" y="8636"/>
                  <a:pt x="19560" y="8636"/>
                  <a:pt x="19560" y="8636"/>
                </a:cubicBezTo>
                <a:cubicBezTo>
                  <a:pt x="19560" y="8851"/>
                  <a:pt x="19620" y="9019"/>
                  <a:pt x="19742" y="9141"/>
                </a:cubicBezTo>
                <a:cubicBezTo>
                  <a:pt x="19864" y="9263"/>
                  <a:pt x="20032" y="9324"/>
                  <a:pt x="20248" y="9324"/>
                </a:cubicBezTo>
                <a:cubicBezTo>
                  <a:pt x="20674" y="9324"/>
                  <a:pt x="20674" y="9324"/>
                  <a:pt x="20674" y="9324"/>
                </a:cubicBezTo>
                <a:cubicBezTo>
                  <a:pt x="20744" y="9324"/>
                  <a:pt x="20779" y="9283"/>
                  <a:pt x="20779" y="9202"/>
                </a:cubicBezTo>
                <a:cubicBezTo>
                  <a:pt x="20779" y="6841"/>
                  <a:pt x="20779" y="6841"/>
                  <a:pt x="20779" y="6841"/>
                </a:cubicBezTo>
                <a:cubicBezTo>
                  <a:pt x="22905" y="9124"/>
                  <a:pt x="22905" y="9124"/>
                  <a:pt x="22905" y="9124"/>
                </a:cubicBezTo>
                <a:cubicBezTo>
                  <a:pt x="23027" y="9257"/>
                  <a:pt x="23186" y="9324"/>
                  <a:pt x="23384" y="9324"/>
                </a:cubicBezTo>
                <a:cubicBezTo>
                  <a:pt x="23898" y="9324"/>
                  <a:pt x="23898" y="9324"/>
                  <a:pt x="23898" y="9324"/>
                </a:cubicBezTo>
                <a:cubicBezTo>
                  <a:pt x="23968" y="9324"/>
                  <a:pt x="24003" y="9283"/>
                  <a:pt x="24003" y="9202"/>
                </a:cubicBezTo>
                <a:cubicBezTo>
                  <a:pt x="24003" y="5569"/>
                  <a:pt x="24003" y="5569"/>
                  <a:pt x="24003" y="5569"/>
                </a:cubicBezTo>
                <a:cubicBezTo>
                  <a:pt x="24003" y="5354"/>
                  <a:pt x="23942" y="5186"/>
                  <a:pt x="23820" y="5063"/>
                </a:cubicBezTo>
                <a:cubicBezTo>
                  <a:pt x="23697" y="4942"/>
                  <a:pt x="23529" y="4880"/>
                  <a:pt x="23314" y="4880"/>
                </a:cubicBezTo>
                <a:cubicBezTo>
                  <a:pt x="22887" y="4880"/>
                  <a:pt x="22887" y="4880"/>
                  <a:pt x="22887" y="4880"/>
                </a:cubicBezTo>
                <a:cubicBezTo>
                  <a:pt x="22818" y="4880"/>
                  <a:pt x="22783" y="4921"/>
                  <a:pt x="22783" y="5002"/>
                </a:cubicBezTo>
                <a:cubicBezTo>
                  <a:pt x="22783" y="6370"/>
                  <a:pt x="22783" y="6370"/>
                  <a:pt x="22783" y="6370"/>
                </a:cubicBezTo>
                <a:cubicBezTo>
                  <a:pt x="22783" y="6487"/>
                  <a:pt x="22755" y="6581"/>
                  <a:pt x="22700" y="6653"/>
                </a:cubicBezTo>
                <a:cubicBezTo>
                  <a:pt x="22645" y="6726"/>
                  <a:pt x="22562" y="6763"/>
                  <a:pt x="22452" y="6763"/>
                </a:cubicBezTo>
                <a:cubicBezTo>
                  <a:pt x="22318" y="6763"/>
                  <a:pt x="22196" y="6702"/>
                  <a:pt x="22086" y="6579"/>
                </a:cubicBezTo>
                <a:lnTo>
                  <a:pt x="20692" y="5081"/>
                </a:lnTo>
                <a:close/>
                <a:moveTo>
                  <a:pt x="24672" y="4880"/>
                </a:moveTo>
                <a:cubicBezTo>
                  <a:pt x="24602" y="4880"/>
                  <a:pt x="24568" y="4921"/>
                  <a:pt x="24568" y="5002"/>
                </a:cubicBezTo>
                <a:cubicBezTo>
                  <a:pt x="24568" y="6806"/>
                  <a:pt x="24568" y="6806"/>
                  <a:pt x="24568" y="6806"/>
                </a:cubicBezTo>
                <a:cubicBezTo>
                  <a:pt x="24568" y="7154"/>
                  <a:pt x="24640" y="7486"/>
                  <a:pt x="24786" y="7799"/>
                </a:cubicBezTo>
                <a:cubicBezTo>
                  <a:pt x="24930" y="8113"/>
                  <a:pt x="25124" y="8390"/>
                  <a:pt x="25365" y="8631"/>
                </a:cubicBezTo>
                <a:cubicBezTo>
                  <a:pt x="25606" y="8872"/>
                  <a:pt x="25883" y="9062"/>
                  <a:pt x="26197" y="9202"/>
                </a:cubicBezTo>
                <a:cubicBezTo>
                  <a:pt x="26510" y="9342"/>
                  <a:pt x="26836" y="9411"/>
                  <a:pt x="27172" y="9411"/>
                </a:cubicBezTo>
                <a:cubicBezTo>
                  <a:pt x="27463" y="9411"/>
                  <a:pt x="27726" y="9365"/>
                  <a:pt x="27961" y="9272"/>
                </a:cubicBezTo>
                <a:cubicBezTo>
                  <a:pt x="28196" y="9179"/>
                  <a:pt x="28398" y="9048"/>
                  <a:pt x="28567" y="8880"/>
                </a:cubicBezTo>
                <a:cubicBezTo>
                  <a:pt x="28735" y="8711"/>
                  <a:pt x="28866" y="8509"/>
                  <a:pt x="28959" y="8274"/>
                </a:cubicBezTo>
                <a:cubicBezTo>
                  <a:pt x="29052" y="8039"/>
                  <a:pt x="29098" y="7776"/>
                  <a:pt x="29098" y="7486"/>
                </a:cubicBezTo>
                <a:cubicBezTo>
                  <a:pt x="29098" y="7137"/>
                  <a:pt x="29026" y="6806"/>
                  <a:pt x="28880" y="6492"/>
                </a:cubicBezTo>
                <a:cubicBezTo>
                  <a:pt x="28735" y="6179"/>
                  <a:pt x="28542" y="5901"/>
                  <a:pt x="28301" y="5660"/>
                </a:cubicBezTo>
                <a:cubicBezTo>
                  <a:pt x="28060" y="5419"/>
                  <a:pt x="27783" y="5229"/>
                  <a:pt x="27469" y="5090"/>
                </a:cubicBezTo>
                <a:cubicBezTo>
                  <a:pt x="27155" y="4950"/>
                  <a:pt x="26830" y="4880"/>
                  <a:pt x="26493" y="4880"/>
                </a:cubicBezTo>
                <a:lnTo>
                  <a:pt x="24672" y="4880"/>
                </a:lnTo>
                <a:close/>
                <a:moveTo>
                  <a:pt x="25988" y="6240"/>
                </a:moveTo>
                <a:cubicBezTo>
                  <a:pt x="26122" y="6100"/>
                  <a:pt x="26293" y="6031"/>
                  <a:pt x="26502" y="6031"/>
                </a:cubicBezTo>
                <a:cubicBezTo>
                  <a:pt x="26664" y="6031"/>
                  <a:pt x="26827" y="6076"/>
                  <a:pt x="26990" y="6166"/>
                </a:cubicBezTo>
                <a:cubicBezTo>
                  <a:pt x="27152" y="6256"/>
                  <a:pt x="27299" y="6372"/>
                  <a:pt x="27430" y="6514"/>
                </a:cubicBezTo>
                <a:cubicBezTo>
                  <a:pt x="27561" y="6657"/>
                  <a:pt x="27668" y="6815"/>
                  <a:pt x="27753" y="6989"/>
                </a:cubicBezTo>
                <a:cubicBezTo>
                  <a:pt x="27836" y="7163"/>
                  <a:pt x="27879" y="7338"/>
                  <a:pt x="27879" y="7512"/>
                </a:cubicBezTo>
                <a:cubicBezTo>
                  <a:pt x="27879" y="7732"/>
                  <a:pt x="27813" y="7913"/>
                  <a:pt x="27682" y="8052"/>
                </a:cubicBezTo>
                <a:cubicBezTo>
                  <a:pt x="27551" y="8191"/>
                  <a:pt x="27379" y="8262"/>
                  <a:pt x="27164" y="8262"/>
                </a:cubicBezTo>
                <a:cubicBezTo>
                  <a:pt x="27001" y="8262"/>
                  <a:pt x="26839" y="8216"/>
                  <a:pt x="26676" y="8126"/>
                </a:cubicBezTo>
                <a:cubicBezTo>
                  <a:pt x="26513" y="8036"/>
                  <a:pt x="26367" y="7920"/>
                  <a:pt x="26236" y="7777"/>
                </a:cubicBezTo>
                <a:cubicBezTo>
                  <a:pt x="26105" y="7635"/>
                  <a:pt x="25998" y="7477"/>
                  <a:pt x="25914" y="7303"/>
                </a:cubicBezTo>
                <a:cubicBezTo>
                  <a:pt x="25830" y="7128"/>
                  <a:pt x="25787" y="6954"/>
                  <a:pt x="25787" y="6780"/>
                </a:cubicBezTo>
                <a:cubicBezTo>
                  <a:pt x="25787" y="6560"/>
                  <a:pt x="25854" y="6379"/>
                  <a:pt x="25988" y="6240"/>
                </a:cubicBezTo>
                <a:close/>
                <a:moveTo>
                  <a:pt x="14313" y="654"/>
                </a:moveTo>
                <a:cubicBezTo>
                  <a:pt x="14313" y="293"/>
                  <a:pt x="14021" y="1"/>
                  <a:pt x="13660" y="1"/>
                </a:cubicBezTo>
                <a:cubicBezTo>
                  <a:pt x="12968" y="1"/>
                  <a:pt x="12968" y="1"/>
                  <a:pt x="12968" y="1"/>
                </a:cubicBezTo>
                <a:cubicBezTo>
                  <a:pt x="12933" y="1"/>
                  <a:pt x="12902" y="15"/>
                  <a:pt x="12879" y="37"/>
                </a:cubicBezTo>
                <a:cubicBezTo>
                  <a:pt x="11492" y="1339"/>
                  <a:pt x="11492" y="1339"/>
                  <a:pt x="11492" y="1339"/>
                </a:cubicBezTo>
                <a:cubicBezTo>
                  <a:pt x="11017" y="1785"/>
                  <a:pt x="10377" y="2036"/>
                  <a:pt x="9674" y="2036"/>
                </a:cubicBezTo>
                <a:cubicBezTo>
                  <a:pt x="8941" y="2036"/>
                  <a:pt x="8278" y="1762"/>
                  <a:pt x="7798" y="1282"/>
                </a:cubicBezTo>
                <a:cubicBezTo>
                  <a:pt x="7798" y="1282"/>
                  <a:pt x="6778" y="324"/>
                  <a:pt x="6769" y="316"/>
                </a:cubicBezTo>
                <a:cubicBezTo>
                  <a:pt x="6573" y="133"/>
                  <a:pt x="6304" y="8"/>
                  <a:pt x="5994" y="1"/>
                </a:cubicBezTo>
                <a:cubicBezTo>
                  <a:pt x="5165" y="1"/>
                  <a:pt x="5165" y="1"/>
                  <a:pt x="5165" y="1"/>
                </a:cubicBezTo>
                <a:cubicBezTo>
                  <a:pt x="5093" y="1"/>
                  <a:pt x="5035" y="59"/>
                  <a:pt x="5035" y="131"/>
                </a:cubicBezTo>
                <a:cubicBezTo>
                  <a:pt x="5035" y="3791"/>
                  <a:pt x="5035" y="3791"/>
                  <a:pt x="5035" y="3791"/>
                </a:cubicBezTo>
                <a:cubicBezTo>
                  <a:pt x="5035" y="4152"/>
                  <a:pt x="5327" y="4444"/>
                  <a:pt x="5688" y="4444"/>
                </a:cubicBezTo>
                <a:cubicBezTo>
                  <a:pt x="5941" y="4444"/>
                  <a:pt x="5941" y="4444"/>
                  <a:pt x="5941" y="4444"/>
                </a:cubicBezTo>
                <a:cubicBezTo>
                  <a:pt x="6112" y="4444"/>
                  <a:pt x="6112" y="4444"/>
                  <a:pt x="6112" y="4444"/>
                </a:cubicBezTo>
                <a:cubicBezTo>
                  <a:pt x="6184" y="4444"/>
                  <a:pt x="6243" y="4385"/>
                  <a:pt x="6243" y="4313"/>
                </a:cubicBezTo>
                <a:cubicBezTo>
                  <a:pt x="6243" y="3010"/>
                  <a:pt x="6243" y="3010"/>
                  <a:pt x="6243" y="3010"/>
                </a:cubicBezTo>
                <a:cubicBezTo>
                  <a:pt x="6243" y="2670"/>
                  <a:pt x="6521" y="2390"/>
                  <a:pt x="6856" y="2390"/>
                </a:cubicBezTo>
                <a:cubicBezTo>
                  <a:pt x="7479" y="2390"/>
                  <a:pt x="7926" y="2923"/>
                  <a:pt x="8330" y="3280"/>
                </a:cubicBezTo>
                <a:cubicBezTo>
                  <a:pt x="8825" y="3717"/>
                  <a:pt x="9205" y="4138"/>
                  <a:pt x="9674" y="4138"/>
                </a:cubicBezTo>
                <a:cubicBezTo>
                  <a:pt x="10142" y="4138"/>
                  <a:pt x="10523" y="3717"/>
                  <a:pt x="11018" y="3280"/>
                </a:cubicBezTo>
                <a:cubicBezTo>
                  <a:pt x="11422" y="2923"/>
                  <a:pt x="11869" y="2390"/>
                  <a:pt x="12492" y="2390"/>
                </a:cubicBezTo>
                <a:cubicBezTo>
                  <a:pt x="12825" y="2390"/>
                  <a:pt x="13101" y="2667"/>
                  <a:pt x="13104" y="3005"/>
                </a:cubicBezTo>
                <a:cubicBezTo>
                  <a:pt x="13104" y="3005"/>
                  <a:pt x="13104" y="3785"/>
                  <a:pt x="13104" y="3791"/>
                </a:cubicBezTo>
                <a:cubicBezTo>
                  <a:pt x="13104" y="4152"/>
                  <a:pt x="13397" y="4443"/>
                  <a:pt x="13758" y="4443"/>
                </a:cubicBezTo>
                <a:cubicBezTo>
                  <a:pt x="13758" y="4443"/>
                  <a:pt x="14030" y="4443"/>
                  <a:pt x="14040" y="4443"/>
                </a:cubicBezTo>
                <a:cubicBezTo>
                  <a:pt x="14114" y="4443"/>
                  <a:pt x="14182" y="4444"/>
                  <a:pt x="14182" y="4444"/>
                </a:cubicBezTo>
                <a:cubicBezTo>
                  <a:pt x="14182" y="4444"/>
                  <a:pt x="14182" y="4444"/>
                  <a:pt x="14182" y="4444"/>
                </a:cubicBezTo>
                <a:cubicBezTo>
                  <a:pt x="14255" y="4444"/>
                  <a:pt x="14313" y="4385"/>
                  <a:pt x="14313" y="4313"/>
                </a:cubicBezTo>
                <a:cubicBezTo>
                  <a:pt x="14313" y="4311"/>
                  <a:pt x="14313" y="685"/>
                  <a:pt x="14313" y="65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F224325-B833-4ECD-8E88-F084C2ACF6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5251170"/>
            <a:ext cx="2511770" cy="1274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211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eck 37">
            <a:extLst>
              <a:ext uri="{FF2B5EF4-FFF2-40B4-BE49-F238E27FC236}">
                <a16:creationId xmlns:a16="http://schemas.microsoft.com/office/drawing/2014/main" id="{72E51C3F-45BF-4228-9D36-14DF5EDD228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FFDCB9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959" y="3645024"/>
            <a:ext cx="5327649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41201" y="2877362"/>
            <a:ext cx="5327407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41201" y="1484784"/>
            <a:ext cx="5327407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6BE86239-86A3-4A3C-AE8F-E19468EEF86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5391566" cy="6237312"/>
          </a:xfrm>
          <a:custGeom>
            <a:avLst/>
            <a:gdLst>
              <a:gd name="connsiteX0" fmla="*/ 0 w 5391566"/>
              <a:gd name="connsiteY0" fmla="*/ 0 h 6223694"/>
              <a:gd name="connsiteX1" fmla="*/ 4584749 w 5391566"/>
              <a:gd name="connsiteY1" fmla="*/ 0 h 6223694"/>
              <a:gd name="connsiteX2" fmla="*/ 5378368 w 5391566"/>
              <a:gd name="connsiteY2" fmla="*/ 4415805 h 6223694"/>
              <a:gd name="connsiteX3" fmla="*/ 4709881 w 5391566"/>
              <a:gd name="connsiteY3" fmla="*/ 5377223 h 6223694"/>
              <a:gd name="connsiteX4" fmla="*/ 0 w 5391566"/>
              <a:gd name="connsiteY4" fmla="*/ 6223694 h 6223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91566" h="6223694">
                <a:moveTo>
                  <a:pt x="0" y="0"/>
                </a:moveTo>
                <a:lnTo>
                  <a:pt x="4584749" y="0"/>
                </a:lnTo>
                <a:lnTo>
                  <a:pt x="5378368" y="4415805"/>
                </a:lnTo>
                <a:cubicBezTo>
                  <a:pt x="5459259" y="4865891"/>
                  <a:pt x="5159967" y="5296332"/>
                  <a:pt x="4709881" y="5377223"/>
                </a:cubicBezTo>
                <a:lnTo>
                  <a:pt x="0" y="622369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>
            <a:noAutofit/>
          </a:bodyPr>
          <a:lstStyle>
            <a:lvl1pPr algn="ctr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Rechteck 18">
            <a:extLst>
              <a:ext uri="{FF2B5EF4-FFF2-40B4-BE49-F238E27FC236}">
                <a16:creationId xmlns:a16="http://schemas.microsoft.com/office/drawing/2014/main" id="{6D0E4013-1057-49F5-9CE1-17A90FB6507D}"/>
              </a:ext>
            </a:extLst>
          </p:cNvPr>
          <p:cNvSpPr/>
          <p:nvPr/>
        </p:nvSpPr>
        <p:spPr bwMode="gray">
          <a:xfrm>
            <a:off x="6240463" y="404664"/>
            <a:ext cx="5327649" cy="14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 algn="l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chemeClr val="accent1"/>
                </a:solidFill>
                <a:latin typeface="+mn-lt"/>
              </a:rPr>
              <a:t>The Healthcare business of Merck KGaA, Darmstadt, Germany operates as EMD Serono in the U.S. and Canada.</a:t>
            </a:r>
          </a:p>
        </p:txBody>
      </p:sp>
      <p:sp>
        <p:nvSpPr>
          <p:cNvPr id="10" name="Rechteck 19">
            <a:extLst>
              <a:ext uri="{FF2B5EF4-FFF2-40B4-BE49-F238E27FC236}">
                <a16:creationId xmlns:a16="http://schemas.microsoft.com/office/drawing/2014/main" id="{62E52A09-1419-4688-8270-7917EC34177F}"/>
              </a:ext>
            </a:extLst>
          </p:cNvPr>
          <p:cNvSpPr/>
          <p:nvPr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029834F9-697C-484D-B0F2-359E4F58E490}"/>
              </a:ext>
            </a:extLst>
          </p:cNvPr>
          <p:cNvSpPr>
            <a:spLocks noEditPoints="1"/>
          </p:cNvSpPr>
          <p:nvPr/>
        </p:nvSpPr>
        <p:spPr bwMode="auto">
          <a:xfrm>
            <a:off x="10422509" y="6093296"/>
            <a:ext cx="1367855" cy="441875"/>
          </a:xfrm>
          <a:custGeom>
            <a:avLst/>
            <a:gdLst>
              <a:gd name="T0" fmla="*/ 13061 w 29098"/>
              <a:gd name="T1" fmla="*/ 9162 h 9411"/>
              <a:gd name="T2" fmla="*/ 11664 w 29098"/>
              <a:gd name="T3" fmla="*/ 7057 h 9411"/>
              <a:gd name="T4" fmla="*/ 11001 w 29098"/>
              <a:gd name="T5" fmla="*/ 6227 h 9411"/>
              <a:gd name="T6" fmla="*/ 10360 w 29098"/>
              <a:gd name="T7" fmla="*/ 9281 h 9411"/>
              <a:gd name="T8" fmla="*/ 9758 w 29098"/>
              <a:gd name="T9" fmla="*/ 8651 h 9411"/>
              <a:gd name="T10" fmla="*/ 12545 w 29098"/>
              <a:gd name="T11" fmla="*/ 5032 h 9411"/>
              <a:gd name="T12" fmla="*/ 13333 w 29098"/>
              <a:gd name="T13" fmla="*/ 7961 h 9411"/>
              <a:gd name="T14" fmla="*/ 7385 w 29098"/>
              <a:gd name="T15" fmla="*/ 8170 h 9411"/>
              <a:gd name="T16" fmla="*/ 6282 w 29098"/>
              <a:gd name="T17" fmla="*/ 6221 h 9411"/>
              <a:gd name="T18" fmla="*/ 7535 w 29098"/>
              <a:gd name="T19" fmla="*/ 6225 h 9411"/>
              <a:gd name="T20" fmla="*/ 7547 w 29098"/>
              <a:gd name="T21" fmla="*/ 7685 h 9411"/>
              <a:gd name="T22" fmla="*/ 8605 w 29098"/>
              <a:gd name="T23" fmla="*/ 5629 h 9411"/>
              <a:gd name="T24" fmla="*/ 4916 w 29098"/>
              <a:gd name="T25" fmla="*/ 6804 h 9411"/>
              <a:gd name="T26" fmla="*/ 9258 w 29098"/>
              <a:gd name="T27" fmla="*/ 9324 h 9411"/>
              <a:gd name="T28" fmla="*/ 4093 w 29098"/>
              <a:gd name="T29" fmla="*/ 2779 h 9411"/>
              <a:gd name="T30" fmla="*/ 1357 w 29098"/>
              <a:gd name="T31" fmla="*/ 1629 h 9411"/>
              <a:gd name="T32" fmla="*/ 4476 w 29098"/>
              <a:gd name="T33" fmla="*/ 688 h 9411"/>
              <a:gd name="T34" fmla="*/ 120 w 29098"/>
              <a:gd name="T35" fmla="*/ 2535 h 9411"/>
              <a:gd name="T36" fmla="*/ 4442 w 29098"/>
              <a:gd name="T37" fmla="*/ 4443 h 9411"/>
              <a:gd name="T38" fmla="*/ 2045 w 29098"/>
              <a:gd name="T39" fmla="*/ 3293 h 9411"/>
              <a:gd name="T40" fmla="*/ 18887 w 29098"/>
              <a:gd name="T41" fmla="*/ 3969 h 9411"/>
              <a:gd name="T42" fmla="*/ 16748 w 29098"/>
              <a:gd name="T43" fmla="*/ 0 h 9411"/>
              <a:gd name="T44" fmla="*/ 15563 w 29098"/>
              <a:gd name="T45" fmla="*/ 4443 h 9411"/>
              <a:gd name="T46" fmla="*/ 18186 w 29098"/>
              <a:gd name="T47" fmla="*/ 2614 h 9411"/>
              <a:gd name="T48" fmla="*/ 16265 w 29098"/>
              <a:gd name="T49" fmla="*/ 1355 h 9411"/>
              <a:gd name="T50" fmla="*/ 3542 w 29098"/>
              <a:gd name="T51" fmla="*/ 6292 h 9411"/>
              <a:gd name="T52" fmla="*/ 4417 w 29098"/>
              <a:gd name="T53" fmla="*/ 5517 h 9411"/>
              <a:gd name="T54" fmla="*/ 292 w 29098"/>
              <a:gd name="T55" fmla="*/ 5547 h 9411"/>
              <a:gd name="T56" fmla="*/ 2074 w 29098"/>
              <a:gd name="T57" fmla="*/ 7582 h 9411"/>
              <a:gd name="T58" fmla="*/ 2897 w 29098"/>
              <a:gd name="T59" fmla="*/ 8144 h 9411"/>
              <a:gd name="T60" fmla="*/ 810 w 29098"/>
              <a:gd name="T61" fmla="*/ 7799 h 9411"/>
              <a:gd name="T62" fmla="*/ 475 w 29098"/>
              <a:gd name="T63" fmla="*/ 8901 h 9411"/>
              <a:gd name="T64" fmla="*/ 4470 w 29098"/>
              <a:gd name="T65" fmla="*/ 9289 h 9411"/>
              <a:gd name="T66" fmla="*/ 3612 w 29098"/>
              <a:gd name="T67" fmla="*/ 6737 h 9411"/>
              <a:gd name="T68" fmla="*/ 2836 w 29098"/>
              <a:gd name="T69" fmla="*/ 5991 h 9411"/>
              <a:gd name="T70" fmla="*/ 15386 w 29098"/>
              <a:gd name="T71" fmla="*/ 8631 h 9411"/>
              <a:gd name="T72" fmla="*/ 18981 w 29098"/>
              <a:gd name="T73" fmla="*/ 8274 h 9411"/>
              <a:gd name="T74" fmla="*/ 16515 w 29098"/>
              <a:gd name="T75" fmla="*/ 4880 h 9411"/>
              <a:gd name="T76" fmla="*/ 17452 w 29098"/>
              <a:gd name="T77" fmla="*/ 6514 h 9411"/>
              <a:gd name="T78" fmla="*/ 16698 w 29098"/>
              <a:gd name="T79" fmla="*/ 8126 h 9411"/>
              <a:gd name="T80" fmla="*/ 20692 w 29098"/>
              <a:gd name="T81" fmla="*/ 5081 h 9411"/>
              <a:gd name="T82" fmla="*/ 19742 w 29098"/>
              <a:gd name="T83" fmla="*/ 9141 h 9411"/>
              <a:gd name="T84" fmla="*/ 22905 w 29098"/>
              <a:gd name="T85" fmla="*/ 9124 h 9411"/>
              <a:gd name="T86" fmla="*/ 23820 w 29098"/>
              <a:gd name="T87" fmla="*/ 5063 h 9411"/>
              <a:gd name="T88" fmla="*/ 22700 w 29098"/>
              <a:gd name="T89" fmla="*/ 6653 h 9411"/>
              <a:gd name="T90" fmla="*/ 24568 w 29098"/>
              <a:gd name="T91" fmla="*/ 5002 h 9411"/>
              <a:gd name="T92" fmla="*/ 27172 w 29098"/>
              <a:gd name="T93" fmla="*/ 9411 h 9411"/>
              <a:gd name="T94" fmla="*/ 28880 w 29098"/>
              <a:gd name="T95" fmla="*/ 6492 h 9411"/>
              <a:gd name="T96" fmla="*/ 25988 w 29098"/>
              <a:gd name="T97" fmla="*/ 6240 h 9411"/>
              <a:gd name="T98" fmla="*/ 27879 w 29098"/>
              <a:gd name="T99" fmla="*/ 7512 h 9411"/>
              <a:gd name="T100" fmla="*/ 25914 w 29098"/>
              <a:gd name="T101" fmla="*/ 7303 h 9411"/>
              <a:gd name="T102" fmla="*/ 12968 w 29098"/>
              <a:gd name="T103" fmla="*/ 1 h 9411"/>
              <a:gd name="T104" fmla="*/ 6769 w 29098"/>
              <a:gd name="T105" fmla="*/ 316 h 9411"/>
              <a:gd name="T106" fmla="*/ 5688 w 29098"/>
              <a:gd name="T107" fmla="*/ 4444 h 9411"/>
              <a:gd name="T108" fmla="*/ 6856 w 29098"/>
              <a:gd name="T109" fmla="*/ 2390 h 9411"/>
              <a:gd name="T110" fmla="*/ 13104 w 29098"/>
              <a:gd name="T111" fmla="*/ 3005 h 9411"/>
              <a:gd name="T112" fmla="*/ 14182 w 29098"/>
              <a:gd name="T113" fmla="*/ 4444 h 9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9098" h="9411">
                <a:moveTo>
                  <a:pt x="14591" y="8890"/>
                </a:moveTo>
                <a:cubicBezTo>
                  <a:pt x="14591" y="9198"/>
                  <a:pt x="14591" y="9198"/>
                  <a:pt x="14591" y="9198"/>
                </a:cubicBezTo>
                <a:cubicBezTo>
                  <a:pt x="14591" y="9279"/>
                  <a:pt x="14557" y="9324"/>
                  <a:pt x="14489" y="9324"/>
                </a:cubicBezTo>
                <a:cubicBezTo>
                  <a:pt x="13522" y="9323"/>
                  <a:pt x="13522" y="9323"/>
                  <a:pt x="13522" y="9323"/>
                </a:cubicBezTo>
                <a:cubicBezTo>
                  <a:pt x="13357" y="9323"/>
                  <a:pt x="13204" y="9266"/>
                  <a:pt x="13061" y="9162"/>
                </a:cubicBezTo>
                <a:cubicBezTo>
                  <a:pt x="13061" y="9162"/>
                  <a:pt x="11599" y="8009"/>
                  <a:pt x="11595" y="8005"/>
                </a:cubicBezTo>
                <a:cubicBezTo>
                  <a:pt x="11496" y="7918"/>
                  <a:pt x="11431" y="7774"/>
                  <a:pt x="11431" y="7610"/>
                </a:cubicBezTo>
                <a:cubicBezTo>
                  <a:pt x="11431" y="7609"/>
                  <a:pt x="11431" y="7134"/>
                  <a:pt x="11431" y="7134"/>
                </a:cubicBezTo>
                <a:cubicBezTo>
                  <a:pt x="11431" y="7053"/>
                  <a:pt x="11456" y="7013"/>
                  <a:pt x="11508" y="7013"/>
                </a:cubicBezTo>
                <a:cubicBezTo>
                  <a:pt x="11559" y="7013"/>
                  <a:pt x="11629" y="7046"/>
                  <a:pt x="11664" y="7057"/>
                </a:cubicBezTo>
                <a:cubicBezTo>
                  <a:pt x="11739" y="7084"/>
                  <a:pt x="11834" y="7110"/>
                  <a:pt x="11840" y="7111"/>
                </a:cubicBezTo>
                <a:cubicBezTo>
                  <a:pt x="11992" y="7160"/>
                  <a:pt x="12140" y="7185"/>
                  <a:pt x="12284" y="7185"/>
                </a:cubicBezTo>
                <a:cubicBezTo>
                  <a:pt x="12587" y="7185"/>
                  <a:pt x="12829" y="7051"/>
                  <a:pt x="12905" y="6835"/>
                </a:cubicBezTo>
                <a:cubicBezTo>
                  <a:pt x="12975" y="6636"/>
                  <a:pt x="12778" y="6174"/>
                  <a:pt x="12107" y="6005"/>
                </a:cubicBezTo>
                <a:cubicBezTo>
                  <a:pt x="11604" y="5877"/>
                  <a:pt x="11137" y="5976"/>
                  <a:pt x="11001" y="6227"/>
                </a:cubicBezTo>
                <a:cubicBezTo>
                  <a:pt x="11001" y="6227"/>
                  <a:pt x="10980" y="6266"/>
                  <a:pt x="10968" y="6306"/>
                </a:cubicBezTo>
                <a:cubicBezTo>
                  <a:pt x="10956" y="6345"/>
                  <a:pt x="10953" y="6404"/>
                  <a:pt x="10953" y="6427"/>
                </a:cubicBezTo>
                <a:cubicBezTo>
                  <a:pt x="10953" y="6427"/>
                  <a:pt x="10953" y="8221"/>
                  <a:pt x="10953" y="8246"/>
                </a:cubicBezTo>
                <a:cubicBezTo>
                  <a:pt x="10953" y="8519"/>
                  <a:pt x="10911" y="8773"/>
                  <a:pt x="10741" y="8996"/>
                </a:cubicBezTo>
                <a:cubicBezTo>
                  <a:pt x="10644" y="9125"/>
                  <a:pt x="10513" y="9231"/>
                  <a:pt x="10360" y="9281"/>
                </a:cubicBezTo>
                <a:cubicBezTo>
                  <a:pt x="10262" y="9312"/>
                  <a:pt x="10152" y="9324"/>
                  <a:pt x="10051" y="9324"/>
                </a:cubicBezTo>
                <a:cubicBezTo>
                  <a:pt x="9980" y="9324"/>
                  <a:pt x="9856" y="9320"/>
                  <a:pt x="9800" y="9290"/>
                </a:cubicBezTo>
                <a:cubicBezTo>
                  <a:pt x="9758" y="9267"/>
                  <a:pt x="9758" y="9222"/>
                  <a:pt x="9758" y="9180"/>
                </a:cubicBezTo>
                <a:cubicBezTo>
                  <a:pt x="9758" y="8881"/>
                  <a:pt x="9758" y="8881"/>
                  <a:pt x="9758" y="8881"/>
                </a:cubicBezTo>
                <a:cubicBezTo>
                  <a:pt x="9758" y="8651"/>
                  <a:pt x="9758" y="8651"/>
                  <a:pt x="9758" y="8651"/>
                </a:cubicBezTo>
                <a:cubicBezTo>
                  <a:pt x="9758" y="7985"/>
                  <a:pt x="9758" y="7985"/>
                  <a:pt x="9758" y="7985"/>
                </a:cubicBezTo>
                <a:cubicBezTo>
                  <a:pt x="9758" y="7985"/>
                  <a:pt x="9758" y="4984"/>
                  <a:pt x="9758" y="4977"/>
                </a:cubicBezTo>
                <a:cubicBezTo>
                  <a:pt x="9758" y="4924"/>
                  <a:pt x="9801" y="4880"/>
                  <a:pt x="9855" y="4880"/>
                </a:cubicBezTo>
                <a:cubicBezTo>
                  <a:pt x="9858" y="4880"/>
                  <a:pt x="11649" y="4880"/>
                  <a:pt x="11649" y="4880"/>
                </a:cubicBezTo>
                <a:cubicBezTo>
                  <a:pt x="11945" y="4880"/>
                  <a:pt x="12240" y="4931"/>
                  <a:pt x="12545" y="5032"/>
                </a:cubicBezTo>
                <a:cubicBezTo>
                  <a:pt x="12849" y="5134"/>
                  <a:pt x="13124" y="5271"/>
                  <a:pt x="13368" y="5445"/>
                </a:cubicBezTo>
                <a:cubicBezTo>
                  <a:pt x="13613" y="5619"/>
                  <a:pt x="13812" y="5824"/>
                  <a:pt x="13966" y="6059"/>
                </a:cubicBezTo>
                <a:cubicBezTo>
                  <a:pt x="14120" y="6294"/>
                  <a:pt x="14196" y="6545"/>
                  <a:pt x="14196" y="6812"/>
                </a:cubicBezTo>
                <a:cubicBezTo>
                  <a:pt x="14196" y="7096"/>
                  <a:pt x="14111" y="7323"/>
                  <a:pt x="13953" y="7504"/>
                </a:cubicBezTo>
                <a:cubicBezTo>
                  <a:pt x="13699" y="7795"/>
                  <a:pt x="13419" y="7907"/>
                  <a:pt x="13333" y="7961"/>
                </a:cubicBezTo>
                <a:cubicBezTo>
                  <a:pt x="13409" y="8021"/>
                  <a:pt x="13586" y="8161"/>
                  <a:pt x="13825" y="8350"/>
                </a:cubicBezTo>
                <a:cubicBezTo>
                  <a:pt x="14287" y="8715"/>
                  <a:pt x="14521" y="8780"/>
                  <a:pt x="14522" y="8780"/>
                </a:cubicBezTo>
                <a:cubicBezTo>
                  <a:pt x="14554" y="8793"/>
                  <a:pt x="14591" y="8842"/>
                  <a:pt x="14591" y="8890"/>
                </a:cubicBezTo>
                <a:close/>
                <a:moveTo>
                  <a:pt x="8674" y="8170"/>
                </a:moveTo>
                <a:cubicBezTo>
                  <a:pt x="7385" y="8170"/>
                  <a:pt x="7385" y="8170"/>
                  <a:pt x="7385" y="8170"/>
                </a:cubicBezTo>
                <a:cubicBezTo>
                  <a:pt x="7201" y="8170"/>
                  <a:pt x="7035" y="8122"/>
                  <a:pt x="6873" y="8053"/>
                </a:cubicBezTo>
                <a:cubicBezTo>
                  <a:pt x="6734" y="7994"/>
                  <a:pt x="6522" y="7809"/>
                  <a:pt x="6459" y="7739"/>
                </a:cubicBezTo>
                <a:cubicBezTo>
                  <a:pt x="6341" y="7609"/>
                  <a:pt x="6249" y="7458"/>
                  <a:pt x="6183" y="7287"/>
                </a:cubicBezTo>
                <a:cubicBezTo>
                  <a:pt x="6117" y="7116"/>
                  <a:pt x="6084" y="6940"/>
                  <a:pt x="6084" y="6760"/>
                </a:cubicBezTo>
                <a:cubicBezTo>
                  <a:pt x="6084" y="6529"/>
                  <a:pt x="6150" y="6349"/>
                  <a:pt x="6282" y="6221"/>
                </a:cubicBezTo>
                <a:cubicBezTo>
                  <a:pt x="6298" y="6206"/>
                  <a:pt x="6355" y="6158"/>
                  <a:pt x="6421" y="6119"/>
                </a:cubicBezTo>
                <a:cubicBezTo>
                  <a:pt x="6487" y="6081"/>
                  <a:pt x="6559" y="6061"/>
                  <a:pt x="6607" y="6051"/>
                </a:cubicBezTo>
                <a:cubicBezTo>
                  <a:pt x="6684" y="6033"/>
                  <a:pt x="6768" y="6022"/>
                  <a:pt x="6858" y="6022"/>
                </a:cubicBezTo>
                <a:cubicBezTo>
                  <a:pt x="6947" y="6022"/>
                  <a:pt x="7032" y="6033"/>
                  <a:pt x="7108" y="6051"/>
                </a:cubicBezTo>
                <a:cubicBezTo>
                  <a:pt x="7253" y="6079"/>
                  <a:pt x="7396" y="6137"/>
                  <a:pt x="7535" y="6225"/>
                </a:cubicBezTo>
                <a:cubicBezTo>
                  <a:pt x="7737" y="6352"/>
                  <a:pt x="7949" y="6546"/>
                  <a:pt x="8092" y="6732"/>
                </a:cubicBezTo>
                <a:cubicBezTo>
                  <a:pt x="6751" y="6732"/>
                  <a:pt x="6751" y="6732"/>
                  <a:pt x="6751" y="6732"/>
                </a:cubicBezTo>
                <a:cubicBezTo>
                  <a:pt x="6671" y="6732"/>
                  <a:pt x="6631" y="6767"/>
                  <a:pt x="6631" y="6837"/>
                </a:cubicBezTo>
                <a:cubicBezTo>
                  <a:pt x="6631" y="6976"/>
                  <a:pt x="6652" y="7066"/>
                  <a:pt x="6706" y="7178"/>
                </a:cubicBezTo>
                <a:cubicBezTo>
                  <a:pt x="6761" y="7291"/>
                  <a:pt x="7019" y="7685"/>
                  <a:pt x="7547" y="7685"/>
                </a:cubicBezTo>
                <a:cubicBezTo>
                  <a:pt x="8795" y="7686"/>
                  <a:pt x="8795" y="7686"/>
                  <a:pt x="8795" y="7686"/>
                </a:cubicBezTo>
                <a:cubicBezTo>
                  <a:pt x="9013" y="7686"/>
                  <a:pt x="9164" y="7628"/>
                  <a:pt x="9247" y="7512"/>
                </a:cubicBezTo>
                <a:cubicBezTo>
                  <a:pt x="9331" y="7396"/>
                  <a:pt x="9355" y="7296"/>
                  <a:pt x="9355" y="7139"/>
                </a:cubicBezTo>
                <a:cubicBezTo>
                  <a:pt x="9355" y="6884"/>
                  <a:pt x="9287" y="6634"/>
                  <a:pt x="9152" y="6365"/>
                </a:cubicBezTo>
                <a:cubicBezTo>
                  <a:pt x="9017" y="6095"/>
                  <a:pt x="8834" y="5850"/>
                  <a:pt x="8605" y="5629"/>
                </a:cubicBezTo>
                <a:cubicBezTo>
                  <a:pt x="8375" y="5409"/>
                  <a:pt x="8108" y="5229"/>
                  <a:pt x="7803" y="5090"/>
                </a:cubicBezTo>
                <a:cubicBezTo>
                  <a:pt x="7498" y="4951"/>
                  <a:pt x="7180" y="4880"/>
                  <a:pt x="6847" y="4880"/>
                </a:cubicBezTo>
                <a:cubicBezTo>
                  <a:pt x="6847" y="4880"/>
                  <a:pt x="5015" y="4880"/>
                  <a:pt x="5013" y="4880"/>
                </a:cubicBezTo>
                <a:cubicBezTo>
                  <a:pt x="4960" y="4880"/>
                  <a:pt x="4916" y="4924"/>
                  <a:pt x="4916" y="4977"/>
                </a:cubicBezTo>
                <a:cubicBezTo>
                  <a:pt x="4916" y="4985"/>
                  <a:pt x="4916" y="6804"/>
                  <a:pt x="4916" y="6804"/>
                </a:cubicBezTo>
                <a:cubicBezTo>
                  <a:pt x="4916" y="7146"/>
                  <a:pt x="4982" y="7470"/>
                  <a:pt x="5114" y="7774"/>
                </a:cubicBezTo>
                <a:cubicBezTo>
                  <a:pt x="5246" y="8079"/>
                  <a:pt x="5426" y="8346"/>
                  <a:pt x="5653" y="8575"/>
                </a:cubicBezTo>
                <a:cubicBezTo>
                  <a:pt x="5880" y="8804"/>
                  <a:pt x="6144" y="8985"/>
                  <a:pt x="6446" y="9119"/>
                </a:cubicBezTo>
                <a:cubicBezTo>
                  <a:pt x="6748" y="9252"/>
                  <a:pt x="7072" y="9324"/>
                  <a:pt x="7417" y="9324"/>
                </a:cubicBezTo>
                <a:cubicBezTo>
                  <a:pt x="9258" y="9324"/>
                  <a:pt x="9258" y="9324"/>
                  <a:pt x="9258" y="9324"/>
                </a:cubicBezTo>
                <a:cubicBezTo>
                  <a:pt x="9311" y="9324"/>
                  <a:pt x="9355" y="9281"/>
                  <a:pt x="9355" y="9228"/>
                </a:cubicBezTo>
                <a:cubicBezTo>
                  <a:pt x="9355" y="8858"/>
                  <a:pt x="9355" y="8858"/>
                  <a:pt x="9355" y="8858"/>
                </a:cubicBezTo>
                <a:cubicBezTo>
                  <a:pt x="9355" y="8643"/>
                  <a:pt x="9294" y="8475"/>
                  <a:pt x="9173" y="8353"/>
                </a:cubicBezTo>
                <a:cubicBezTo>
                  <a:pt x="9053" y="8231"/>
                  <a:pt x="8886" y="8170"/>
                  <a:pt x="8674" y="8170"/>
                </a:cubicBezTo>
                <a:close/>
                <a:moveTo>
                  <a:pt x="4093" y="2779"/>
                </a:moveTo>
                <a:cubicBezTo>
                  <a:pt x="4174" y="2779"/>
                  <a:pt x="4215" y="2744"/>
                  <a:pt x="4215" y="2675"/>
                </a:cubicBezTo>
                <a:cubicBezTo>
                  <a:pt x="4215" y="2317"/>
                  <a:pt x="4215" y="2317"/>
                  <a:pt x="4215" y="2317"/>
                </a:cubicBezTo>
                <a:cubicBezTo>
                  <a:pt x="4215" y="2103"/>
                  <a:pt x="4154" y="1934"/>
                  <a:pt x="4032" y="1812"/>
                </a:cubicBezTo>
                <a:cubicBezTo>
                  <a:pt x="3910" y="1690"/>
                  <a:pt x="3741" y="1629"/>
                  <a:pt x="3526" y="1629"/>
                </a:cubicBezTo>
                <a:cubicBezTo>
                  <a:pt x="1357" y="1629"/>
                  <a:pt x="1357" y="1629"/>
                  <a:pt x="1357" y="1629"/>
                </a:cubicBezTo>
                <a:cubicBezTo>
                  <a:pt x="1392" y="1484"/>
                  <a:pt x="1466" y="1368"/>
                  <a:pt x="1579" y="1281"/>
                </a:cubicBezTo>
                <a:cubicBezTo>
                  <a:pt x="1692" y="1194"/>
                  <a:pt x="1842" y="1150"/>
                  <a:pt x="2028" y="1150"/>
                </a:cubicBezTo>
                <a:cubicBezTo>
                  <a:pt x="4354" y="1150"/>
                  <a:pt x="4354" y="1150"/>
                  <a:pt x="4354" y="1150"/>
                </a:cubicBezTo>
                <a:cubicBezTo>
                  <a:pt x="4435" y="1150"/>
                  <a:pt x="4476" y="1115"/>
                  <a:pt x="4476" y="1045"/>
                </a:cubicBezTo>
                <a:cubicBezTo>
                  <a:pt x="4476" y="688"/>
                  <a:pt x="4476" y="688"/>
                  <a:pt x="4476" y="688"/>
                </a:cubicBezTo>
                <a:cubicBezTo>
                  <a:pt x="4476" y="473"/>
                  <a:pt x="4416" y="305"/>
                  <a:pt x="4293" y="183"/>
                </a:cubicBezTo>
                <a:cubicBezTo>
                  <a:pt x="4171" y="61"/>
                  <a:pt x="4003" y="0"/>
                  <a:pt x="3788" y="0"/>
                </a:cubicBezTo>
                <a:cubicBezTo>
                  <a:pt x="224" y="0"/>
                  <a:pt x="224" y="0"/>
                  <a:pt x="224" y="0"/>
                </a:cubicBezTo>
                <a:cubicBezTo>
                  <a:pt x="154" y="0"/>
                  <a:pt x="120" y="41"/>
                  <a:pt x="120" y="122"/>
                </a:cubicBezTo>
                <a:cubicBezTo>
                  <a:pt x="120" y="2535"/>
                  <a:pt x="120" y="2535"/>
                  <a:pt x="120" y="2535"/>
                </a:cubicBezTo>
                <a:cubicBezTo>
                  <a:pt x="120" y="2808"/>
                  <a:pt x="169" y="3063"/>
                  <a:pt x="268" y="3297"/>
                </a:cubicBezTo>
                <a:cubicBezTo>
                  <a:pt x="367" y="3533"/>
                  <a:pt x="504" y="3735"/>
                  <a:pt x="682" y="3903"/>
                </a:cubicBezTo>
                <a:cubicBezTo>
                  <a:pt x="859" y="4072"/>
                  <a:pt x="1071" y="4204"/>
                  <a:pt x="1318" y="4299"/>
                </a:cubicBezTo>
                <a:cubicBezTo>
                  <a:pt x="1565" y="4396"/>
                  <a:pt x="1833" y="4443"/>
                  <a:pt x="2124" y="4443"/>
                </a:cubicBezTo>
                <a:cubicBezTo>
                  <a:pt x="4442" y="4443"/>
                  <a:pt x="4442" y="4443"/>
                  <a:pt x="4442" y="4443"/>
                </a:cubicBezTo>
                <a:cubicBezTo>
                  <a:pt x="4523" y="4443"/>
                  <a:pt x="4563" y="4408"/>
                  <a:pt x="4563" y="4339"/>
                </a:cubicBezTo>
                <a:cubicBezTo>
                  <a:pt x="4563" y="3982"/>
                  <a:pt x="4563" y="3982"/>
                  <a:pt x="4563" y="3982"/>
                </a:cubicBezTo>
                <a:cubicBezTo>
                  <a:pt x="4563" y="3767"/>
                  <a:pt x="4502" y="3598"/>
                  <a:pt x="4380" y="3476"/>
                </a:cubicBezTo>
                <a:cubicBezTo>
                  <a:pt x="4259" y="3354"/>
                  <a:pt x="4090" y="3293"/>
                  <a:pt x="3875" y="3293"/>
                </a:cubicBezTo>
                <a:cubicBezTo>
                  <a:pt x="2045" y="3293"/>
                  <a:pt x="2045" y="3293"/>
                  <a:pt x="2045" y="3293"/>
                </a:cubicBezTo>
                <a:cubicBezTo>
                  <a:pt x="1871" y="3293"/>
                  <a:pt x="1723" y="3245"/>
                  <a:pt x="1601" y="3149"/>
                </a:cubicBezTo>
                <a:cubicBezTo>
                  <a:pt x="1479" y="3054"/>
                  <a:pt x="1398" y="2930"/>
                  <a:pt x="1357" y="2779"/>
                </a:cubicBezTo>
                <a:lnTo>
                  <a:pt x="4093" y="2779"/>
                </a:lnTo>
                <a:close/>
                <a:moveTo>
                  <a:pt x="17445" y="4443"/>
                </a:moveTo>
                <a:cubicBezTo>
                  <a:pt x="18061" y="4443"/>
                  <a:pt x="18541" y="4285"/>
                  <a:pt x="18887" y="3969"/>
                </a:cubicBezTo>
                <a:cubicBezTo>
                  <a:pt x="19233" y="3652"/>
                  <a:pt x="19406" y="3186"/>
                  <a:pt x="19406" y="2570"/>
                </a:cubicBezTo>
                <a:cubicBezTo>
                  <a:pt x="19406" y="2216"/>
                  <a:pt x="19332" y="1882"/>
                  <a:pt x="19183" y="1568"/>
                </a:cubicBezTo>
                <a:cubicBezTo>
                  <a:pt x="19036" y="1254"/>
                  <a:pt x="18838" y="981"/>
                  <a:pt x="18591" y="749"/>
                </a:cubicBezTo>
                <a:cubicBezTo>
                  <a:pt x="18344" y="517"/>
                  <a:pt x="18061" y="334"/>
                  <a:pt x="17741" y="200"/>
                </a:cubicBezTo>
                <a:cubicBezTo>
                  <a:pt x="17422" y="67"/>
                  <a:pt x="17091" y="0"/>
                  <a:pt x="16748" y="0"/>
                </a:cubicBezTo>
                <a:cubicBezTo>
                  <a:pt x="14980" y="0"/>
                  <a:pt x="14980" y="0"/>
                  <a:pt x="14980" y="0"/>
                </a:cubicBezTo>
                <a:cubicBezTo>
                  <a:pt x="14910" y="0"/>
                  <a:pt x="14875" y="41"/>
                  <a:pt x="14875" y="122"/>
                </a:cubicBezTo>
                <a:cubicBezTo>
                  <a:pt x="14875" y="3755"/>
                  <a:pt x="14875" y="3755"/>
                  <a:pt x="14875" y="3755"/>
                </a:cubicBezTo>
                <a:cubicBezTo>
                  <a:pt x="14875" y="3970"/>
                  <a:pt x="14936" y="4139"/>
                  <a:pt x="15058" y="4260"/>
                </a:cubicBezTo>
                <a:cubicBezTo>
                  <a:pt x="15180" y="4382"/>
                  <a:pt x="15349" y="4443"/>
                  <a:pt x="15563" y="4443"/>
                </a:cubicBezTo>
                <a:lnTo>
                  <a:pt x="17445" y="4443"/>
                </a:lnTo>
                <a:close/>
                <a:moveTo>
                  <a:pt x="17258" y="1276"/>
                </a:moveTo>
                <a:cubicBezTo>
                  <a:pt x="17429" y="1361"/>
                  <a:pt x="17583" y="1472"/>
                  <a:pt x="17720" y="1612"/>
                </a:cubicBezTo>
                <a:cubicBezTo>
                  <a:pt x="17856" y="1751"/>
                  <a:pt x="17968" y="1908"/>
                  <a:pt x="18055" y="2082"/>
                </a:cubicBezTo>
                <a:cubicBezTo>
                  <a:pt x="18142" y="2257"/>
                  <a:pt x="18186" y="2434"/>
                  <a:pt x="18186" y="2614"/>
                </a:cubicBezTo>
                <a:cubicBezTo>
                  <a:pt x="18186" y="2828"/>
                  <a:pt x="18115" y="2996"/>
                  <a:pt x="17973" y="3115"/>
                </a:cubicBezTo>
                <a:cubicBezTo>
                  <a:pt x="17830" y="3234"/>
                  <a:pt x="17657" y="3293"/>
                  <a:pt x="17454" y="3293"/>
                </a:cubicBezTo>
                <a:cubicBezTo>
                  <a:pt x="16095" y="3293"/>
                  <a:pt x="16095" y="3293"/>
                  <a:pt x="16095" y="3293"/>
                </a:cubicBezTo>
                <a:cubicBezTo>
                  <a:pt x="16095" y="1882"/>
                  <a:pt x="16095" y="1882"/>
                  <a:pt x="16095" y="1882"/>
                </a:cubicBezTo>
                <a:cubicBezTo>
                  <a:pt x="16095" y="1667"/>
                  <a:pt x="16151" y="1491"/>
                  <a:pt x="16265" y="1355"/>
                </a:cubicBezTo>
                <a:cubicBezTo>
                  <a:pt x="16378" y="1218"/>
                  <a:pt x="16536" y="1150"/>
                  <a:pt x="16739" y="1150"/>
                </a:cubicBezTo>
                <a:cubicBezTo>
                  <a:pt x="16914" y="1150"/>
                  <a:pt x="17087" y="1192"/>
                  <a:pt x="17258" y="1276"/>
                </a:cubicBezTo>
                <a:close/>
                <a:moveTo>
                  <a:pt x="2836" y="5991"/>
                </a:moveTo>
                <a:cubicBezTo>
                  <a:pt x="3042" y="6047"/>
                  <a:pt x="3221" y="6117"/>
                  <a:pt x="3372" y="6205"/>
                </a:cubicBezTo>
                <a:cubicBezTo>
                  <a:pt x="3447" y="6252"/>
                  <a:pt x="3504" y="6280"/>
                  <a:pt x="3542" y="6292"/>
                </a:cubicBezTo>
                <a:cubicBezTo>
                  <a:pt x="3579" y="6304"/>
                  <a:pt x="3621" y="6309"/>
                  <a:pt x="3668" y="6309"/>
                </a:cubicBezTo>
                <a:cubicBezTo>
                  <a:pt x="3773" y="6309"/>
                  <a:pt x="3883" y="6252"/>
                  <a:pt x="3999" y="6135"/>
                </a:cubicBezTo>
                <a:cubicBezTo>
                  <a:pt x="4443" y="5673"/>
                  <a:pt x="4443" y="5673"/>
                  <a:pt x="4443" y="5673"/>
                </a:cubicBezTo>
                <a:cubicBezTo>
                  <a:pt x="4461" y="5656"/>
                  <a:pt x="4470" y="5636"/>
                  <a:pt x="4470" y="5613"/>
                </a:cubicBezTo>
                <a:cubicBezTo>
                  <a:pt x="4470" y="5583"/>
                  <a:pt x="4452" y="5551"/>
                  <a:pt x="4417" y="5517"/>
                </a:cubicBezTo>
                <a:cubicBezTo>
                  <a:pt x="4168" y="5290"/>
                  <a:pt x="3844" y="5113"/>
                  <a:pt x="3446" y="4985"/>
                </a:cubicBezTo>
                <a:cubicBezTo>
                  <a:pt x="3048" y="4858"/>
                  <a:pt x="2628" y="4794"/>
                  <a:pt x="2187" y="4794"/>
                </a:cubicBezTo>
                <a:cubicBezTo>
                  <a:pt x="1913" y="4794"/>
                  <a:pt x="1654" y="4819"/>
                  <a:pt x="1407" y="4872"/>
                </a:cubicBezTo>
                <a:cubicBezTo>
                  <a:pt x="1160" y="4924"/>
                  <a:pt x="941" y="5006"/>
                  <a:pt x="749" y="5116"/>
                </a:cubicBezTo>
                <a:cubicBezTo>
                  <a:pt x="558" y="5226"/>
                  <a:pt x="405" y="5370"/>
                  <a:pt x="292" y="5547"/>
                </a:cubicBezTo>
                <a:cubicBezTo>
                  <a:pt x="178" y="5724"/>
                  <a:pt x="122" y="5938"/>
                  <a:pt x="122" y="6188"/>
                </a:cubicBezTo>
                <a:cubicBezTo>
                  <a:pt x="122" y="6408"/>
                  <a:pt x="171" y="6597"/>
                  <a:pt x="270" y="6754"/>
                </a:cubicBezTo>
                <a:cubicBezTo>
                  <a:pt x="369" y="6911"/>
                  <a:pt x="505" y="7044"/>
                  <a:pt x="679" y="7154"/>
                </a:cubicBezTo>
                <a:cubicBezTo>
                  <a:pt x="854" y="7265"/>
                  <a:pt x="1060" y="7353"/>
                  <a:pt x="1298" y="7420"/>
                </a:cubicBezTo>
                <a:cubicBezTo>
                  <a:pt x="1536" y="7487"/>
                  <a:pt x="1795" y="7541"/>
                  <a:pt x="2074" y="7582"/>
                </a:cubicBezTo>
                <a:cubicBezTo>
                  <a:pt x="2277" y="7611"/>
                  <a:pt x="2442" y="7638"/>
                  <a:pt x="2570" y="7664"/>
                </a:cubicBezTo>
                <a:cubicBezTo>
                  <a:pt x="2698" y="7691"/>
                  <a:pt x="2800" y="7717"/>
                  <a:pt x="2875" y="7743"/>
                </a:cubicBezTo>
                <a:cubicBezTo>
                  <a:pt x="2950" y="7769"/>
                  <a:pt x="3002" y="7798"/>
                  <a:pt x="3028" y="7830"/>
                </a:cubicBezTo>
                <a:cubicBezTo>
                  <a:pt x="3054" y="7862"/>
                  <a:pt x="3067" y="7901"/>
                  <a:pt x="3067" y="7947"/>
                </a:cubicBezTo>
                <a:cubicBezTo>
                  <a:pt x="3067" y="8040"/>
                  <a:pt x="3010" y="8106"/>
                  <a:pt x="2897" y="8144"/>
                </a:cubicBezTo>
                <a:cubicBezTo>
                  <a:pt x="2784" y="8181"/>
                  <a:pt x="2634" y="8200"/>
                  <a:pt x="2448" y="8200"/>
                </a:cubicBezTo>
                <a:cubicBezTo>
                  <a:pt x="2140" y="8200"/>
                  <a:pt x="1879" y="8174"/>
                  <a:pt x="1664" y="8122"/>
                </a:cubicBezTo>
                <a:cubicBezTo>
                  <a:pt x="1449" y="8069"/>
                  <a:pt x="1263" y="7997"/>
                  <a:pt x="1106" y="7904"/>
                </a:cubicBezTo>
                <a:cubicBezTo>
                  <a:pt x="1031" y="7858"/>
                  <a:pt x="974" y="7829"/>
                  <a:pt x="937" y="7817"/>
                </a:cubicBezTo>
                <a:cubicBezTo>
                  <a:pt x="899" y="7805"/>
                  <a:pt x="857" y="7799"/>
                  <a:pt x="810" y="7799"/>
                </a:cubicBezTo>
                <a:cubicBezTo>
                  <a:pt x="705" y="7799"/>
                  <a:pt x="595" y="7858"/>
                  <a:pt x="479" y="7973"/>
                </a:cubicBezTo>
                <a:cubicBezTo>
                  <a:pt x="26" y="8444"/>
                  <a:pt x="26" y="8444"/>
                  <a:pt x="26" y="8444"/>
                </a:cubicBezTo>
                <a:cubicBezTo>
                  <a:pt x="9" y="8462"/>
                  <a:pt x="0" y="8482"/>
                  <a:pt x="0" y="8505"/>
                </a:cubicBezTo>
                <a:cubicBezTo>
                  <a:pt x="0" y="8534"/>
                  <a:pt x="17" y="8566"/>
                  <a:pt x="52" y="8601"/>
                </a:cubicBezTo>
                <a:cubicBezTo>
                  <a:pt x="163" y="8711"/>
                  <a:pt x="303" y="8812"/>
                  <a:pt x="475" y="8901"/>
                </a:cubicBezTo>
                <a:cubicBezTo>
                  <a:pt x="646" y="8991"/>
                  <a:pt x="840" y="9067"/>
                  <a:pt x="1059" y="9128"/>
                </a:cubicBezTo>
                <a:cubicBezTo>
                  <a:pt x="1277" y="9189"/>
                  <a:pt x="1513" y="9237"/>
                  <a:pt x="1769" y="9272"/>
                </a:cubicBezTo>
                <a:cubicBezTo>
                  <a:pt x="2024" y="9307"/>
                  <a:pt x="2292" y="9324"/>
                  <a:pt x="2570" y="9324"/>
                </a:cubicBezTo>
                <a:cubicBezTo>
                  <a:pt x="4409" y="9324"/>
                  <a:pt x="4409" y="9324"/>
                  <a:pt x="4409" y="9324"/>
                </a:cubicBezTo>
                <a:cubicBezTo>
                  <a:pt x="4438" y="9324"/>
                  <a:pt x="4458" y="9313"/>
                  <a:pt x="4470" y="9289"/>
                </a:cubicBezTo>
                <a:cubicBezTo>
                  <a:pt x="4475" y="9278"/>
                  <a:pt x="4478" y="9263"/>
                  <a:pt x="4478" y="9245"/>
                </a:cubicBezTo>
                <a:cubicBezTo>
                  <a:pt x="4478" y="8226"/>
                  <a:pt x="4478" y="8226"/>
                  <a:pt x="4478" y="8226"/>
                </a:cubicBezTo>
                <a:cubicBezTo>
                  <a:pt x="4478" y="7930"/>
                  <a:pt x="4443" y="7685"/>
                  <a:pt x="4374" y="7490"/>
                </a:cubicBezTo>
                <a:cubicBezTo>
                  <a:pt x="4304" y="7296"/>
                  <a:pt x="4205" y="7137"/>
                  <a:pt x="4077" y="7015"/>
                </a:cubicBezTo>
                <a:cubicBezTo>
                  <a:pt x="3950" y="6893"/>
                  <a:pt x="3795" y="6801"/>
                  <a:pt x="3612" y="6737"/>
                </a:cubicBezTo>
                <a:cubicBezTo>
                  <a:pt x="3429" y="6673"/>
                  <a:pt x="3224" y="6623"/>
                  <a:pt x="2997" y="6588"/>
                </a:cubicBezTo>
                <a:cubicBezTo>
                  <a:pt x="2527" y="6518"/>
                  <a:pt x="2155" y="6455"/>
                  <a:pt x="1882" y="6396"/>
                </a:cubicBezTo>
                <a:cubicBezTo>
                  <a:pt x="1609" y="6339"/>
                  <a:pt x="1473" y="6254"/>
                  <a:pt x="1473" y="6144"/>
                </a:cubicBezTo>
                <a:cubicBezTo>
                  <a:pt x="1473" y="5987"/>
                  <a:pt x="1693" y="5909"/>
                  <a:pt x="2135" y="5909"/>
                </a:cubicBezTo>
                <a:cubicBezTo>
                  <a:pt x="2396" y="5909"/>
                  <a:pt x="2630" y="5936"/>
                  <a:pt x="2836" y="5991"/>
                </a:cubicBezTo>
                <a:close/>
                <a:moveTo>
                  <a:pt x="14694" y="4880"/>
                </a:moveTo>
                <a:cubicBezTo>
                  <a:pt x="14624" y="4880"/>
                  <a:pt x="14589" y="4921"/>
                  <a:pt x="14589" y="5002"/>
                </a:cubicBezTo>
                <a:cubicBezTo>
                  <a:pt x="14589" y="6806"/>
                  <a:pt x="14589" y="6806"/>
                  <a:pt x="14589" y="6806"/>
                </a:cubicBezTo>
                <a:cubicBezTo>
                  <a:pt x="14589" y="7154"/>
                  <a:pt x="14662" y="7486"/>
                  <a:pt x="14808" y="7799"/>
                </a:cubicBezTo>
                <a:cubicBezTo>
                  <a:pt x="14953" y="8113"/>
                  <a:pt x="15145" y="8390"/>
                  <a:pt x="15386" y="8631"/>
                </a:cubicBezTo>
                <a:cubicBezTo>
                  <a:pt x="15628" y="8872"/>
                  <a:pt x="15905" y="9062"/>
                  <a:pt x="16219" y="9202"/>
                </a:cubicBezTo>
                <a:cubicBezTo>
                  <a:pt x="16532" y="9342"/>
                  <a:pt x="16857" y="9411"/>
                  <a:pt x="17195" y="9411"/>
                </a:cubicBezTo>
                <a:cubicBezTo>
                  <a:pt x="17485" y="9411"/>
                  <a:pt x="17748" y="9365"/>
                  <a:pt x="17983" y="9272"/>
                </a:cubicBezTo>
                <a:cubicBezTo>
                  <a:pt x="18218" y="9179"/>
                  <a:pt x="18420" y="9048"/>
                  <a:pt x="18589" y="8880"/>
                </a:cubicBezTo>
                <a:cubicBezTo>
                  <a:pt x="18757" y="8711"/>
                  <a:pt x="18888" y="8509"/>
                  <a:pt x="18981" y="8274"/>
                </a:cubicBezTo>
                <a:cubicBezTo>
                  <a:pt x="19074" y="8039"/>
                  <a:pt x="19121" y="7776"/>
                  <a:pt x="19121" y="7486"/>
                </a:cubicBezTo>
                <a:cubicBezTo>
                  <a:pt x="19121" y="7137"/>
                  <a:pt x="19048" y="6806"/>
                  <a:pt x="18902" y="6492"/>
                </a:cubicBezTo>
                <a:cubicBezTo>
                  <a:pt x="18757" y="6179"/>
                  <a:pt x="18564" y="5901"/>
                  <a:pt x="18323" y="5660"/>
                </a:cubicBezTo>
                <a:cubicBezTo>
                  <a:pt x="18082" y="5419"/>
                  <a:pt x="17804" y="5229"/>
                  <a:pt x="17491" y="5090"/>
                </a:cubicBezTo>
                <a:cubicBezTo>
                  <a:pt x="17177" y="4950"/>
                  <a:pt x="16852" y="4880"/>
                  <a:pt x="16515" y="4880"/>
                </a:cubicBezTo>
                <a:lnTo>
                  <a:pt x="14694" y="4880"/>
                </a:lnTo>
                <a:close/>
                <a:moveTo>
                  <a:pt x="16010" y="6240"/>
                </a:moveTo>
                <a:cubicBezTo>
                  <a:pt x="16143" y="6100"/>
                  <a:pt x="16315" y="6031"/>
                  <a:pt x="16524" y="6031"/>
                </a:cubicBezTo>
                <a:cubicBezTo>
                  <a:pt x="16686" y="6031"/>
                  <a:pt x="16849" y="6076"/>
                  <a:pt x="17011" y="6166"/>
                </a:cubicBezTo>
                <a:cubicBezTo>
                  <a:pt x="17174" y="6256"/>
                  <a:pt x="17321" y="6372"/>
                  <a:pt x="17452" y="6514"/>
                </a:cubicBezTo>
                <a:cubicBezTo>
                  <a:pt x="17582" y="6657"/>
                  <a:pt x="17690" y="6815"/>
                  <a:pt x="17774" y="6989"/>
                </a:cubicBezTo>
                <a:cubicBezTo>
                  <a:pt x="17858" y="7163"/>
                  <a:pt x="17900" y="7338"/>
                  <a:pt x="17900" y="7512"/>
                </a:cubicBezTo>
                <a:cubicBezTo>
                  <a:pt x="17900" y="7732"/>
                  <a:pt x="17835" y="7913"/>
                  <a:pt x="17704" y="8052"/>
                </a:cubicBezTo>
                <a:cubicBezTo>
                  <a:pt x="17574" y="8191"/>
                  <a:pt x="17401" y="8262"/>
                  <a:pt x="17186" y="8262"/>
                </a:cubicBezTo>
                <a:cubicBezTo>
                  <a:pt x="17023" y="8262"/>
                  <a:pt x="16861" y="8216"/>
                  <a:pt x="16698" y="8126"/>
                </a:cubicBezTo>
                <a:cubicBezTo>
                  <a:pt x="16535" y="8036"/>
                  <a:pt x="16389" y="7920"/>
                  <a:pt x="16258" y="7777"/>
                </a:cubicBezTo>
                <a:cubicBezTo>
                  <a:pt x="16128" y="7635"/>
                  <a:pt x="16020" y="7477"/>
                  <a:pt x="15936" y="7303"/>
                </a:cubicBezTo>
                <a:cubicBezTo>
                  <a:pt x="15851" y="7128"/>
                  <a:pt x="15810" y="6954"/>
                  <a:pt x="15810" y="6780"/>
                </a:cubicBezTo>
                <a:cubicBezTo>
                  <a:pt x="15810" y="6560"/>
                  <a:pt x="15876" y="6379"/>
                  <a:pt x="16010" y="6240"/>
                </a:cubicBezTo>
                <a:close/>
                <a:moveTo>
                  <a:pt x="20692" y="5081"/>
                </a:moveTo>
                <a:cubicBezTo>
                  <a:pt x="20570" y="4947"/>
                  <a:pt x="20410" y="4880"/>
                  <a:pt x="20212" y="4880"/>
                </a:cubicBezTo>
                <a:cubicBezTo>
                  <a:pt x="19664" y="4880"/>
                  <a:pt x="19664" y="4880"/>
                  <a:pt x="19664" y="4880"/>
                </a:cubicBezTo>
                <a:cubicBezTo>
                  <a:pt x="19594" y="4880"/>
                  <a:pt x="19560" y="4921"/>
                  <a:pt x="19560" y="5002"/>
                </a:cubicBezTo>
                <a:cubicBezTo>
                  <a:pt x="19560" y="8636"/>
                  <a:pt x="19560" y="8636"/>
                  <a:pt x="19560" y="8636"/>
                </a:cubicBezTo>
                <a:cubicBezTo>
                  <a:pt x="19560" y="8851"/>
                  <a:pt x="19620" y="9019"/>
                  <a:pt x="19742" y="9141"/>
                </a:cubicBezTo>
                <a:cubicBezTo>
                  <a:pt x="19864" y="9263"/>
                  <a:pt x="20032" y="9324"/>
                  <a:pt x="20248" y="9324"/>
                </a:cubicBezTo>
                <a:cubicBezTo>
                  <a:pt x="20674" y="9324"/>
                  <a:pt x="20674" y="9324"/>
                  <a:pt x="20674" y="9324"/>
                </a:cubicBezTo>
                <a:cubicBezTo>
                  <a:pt x="20744" y="9324"/>
                  <a:pt x="20779" y="9283"/>
                  <a:pt x="20779" y="9202"/>
                </a:cubicBezTo>
                <a:cubicBezTo>
                  <a:pt x="20779" y="6841"/>
                  <a:pt x="20779" y="6841"/>
                  <a:pt x="20779" y="6841"/>
                </a:cubicBezTo>
                <a:cubicBezTo>
                  <a:pt x="22905" y="9124"/>
                  <a:pt x="22905" y="9124"/>
                  <a:pt x="22905" y="9124"/>
                </a:cubicBezTo>
                <a:cubicBezTo>
                  <a:pt x="23027" y="9257"/>
                  <a:pt x="23186" y="9324"/>
                  <a:pt x="23384" y="9324"/>
                </a:cubicBezTo>
                <a:cubicBezTo>
                  <a:pt x="23898" y="9324"/>
                  <a:pt x="23898" y="9324"/>
                  <a:pt x="23898" y="9324"/>
                </a:cubicBezTo>
                <a:cubicBezTo>
                  <a:pt x="23968" y="9324"/>
                  <a:pt x="24003" y="9283"/>
                  <a:pt x="24003" y="9202"/>
                </a:cubicBezTo>
                <a:cubicBezTo>
                  <a:pt x="24003" y="5569"/>
                  <a:pt x="24003" y="5569"/>
                  <a:pt x="24003" y="5569"/>
                </a:cubicBezTo>
                <a:cubicBezTo>
                  <a:pt x="24003" y="5354"/>
                  <a:pt x="23942" y="5186"/>
                  <a:pt x="23820" y="5063"/>
                </a:cubicBezTo>
                <a:cubicBezTo>
                  <a:pt x="23697" y="4942"/>
                  <a:pt x="23529" y="4880"/>
                  <a:pt x="23314" y="4880"/>
                </a:cubicBezTo>
                <a:cubicBezTo>
                  <a:pt x="22887" y="4880"/>
                  <a:pt x="22887" y="4880"/>
                  <a:pt x="22887" y="4880"/>
                </a:cubicBezTo>
                <a:cubicBezTo>
                  <a:pt x="22818" y="4880"/>
                  <a:pt x="22783" y="4921"/>
                  <a:pt x="22783" y="5002"/>
                </a:cubicBezTo>
                <a:cubicBezTo>
                  <a:pt x="22783" y="6370"/>
                  <a:pt x="22783" y="6370"/>
                  <a:pt x="22783" y="6370"/>
                </a:cubicBezTo>
                <a:cubicBezTo>
                  <a:pt x="22783" y="6487"/>
                  <a:pt x="22755" y="6581"/>
                  <a:pt x="22700" y="6653"/>
                </a:cubicBezTo>
                <a:cubicBezTo>
                  <a:pt x="22645" y="6726"/>
                  <a:pt x="22562" y="6763"/>
                  <a:pt x="22452" y="6763"/>
                </a:cubicBezTo>
                <a:cubicBezTo>
                  <a:pt x="22318" y="6763"/>
                  <a:pt x="22196" y="6702"/>
                  <a:pt x="22086" y="6579"/>
                </a:cubicBezTo>
                <a:lnTo>
                  <a:pt x="20692" y="5081"/>
                </a:lnTo>
                <a:close/>
                <a:moveTo>
                  <a:pt x="24672" y="4880"/>
                </a:moveTo>
                <a:cubicBezTo>
                  <a:pt x="24602" y="4880"/>
                  <a:pt x="24568" y="4921"/>
                  <a:pt x="24568" y="5002"/>
                </a:cubicBezTo>
                <a:cubicBezTo>
                  <a:pt x="24568" y="6806"/>
                  <a:pt x="24568" y="6806"/>
                  <a:pt x="24568" y="6806"/>
                </a:cubicBezTo>
                <a:cubicBezTo>
                  <a:pt x="24568" y="7154"/>
                  <a:pt x="24640" y="7486"/>
                  <a:pt x="24786" y="7799"/>
                </a:cubicBezTo>
                <a:cubicBezTo>
                  <a:pt x="24930" y="8113"/>
                  <a:pt x="25124" y="8390"/>
                  <a:pt x="25365" y="8631"/>
                </a:cubicBezTo>
                <a:cubicBezTo>
                  <a:pt x="25606" y="8872"/>
                  <a:pt x="25883" y="9062"/>
                  <a:pt x="26197" y="9202"/>
                </a:cubicBezTo>
                <a:cubicBezTo>
                  <a:pt x="26510" y="9342"/>
                  <a:pt x="26836" y="9411"/>
                  <a:pt x="27172" y="9411"/>
                </a:cubicBezTo>
                <a:cubicBezTo>
                  <a:pt x="27463" y="9411"/>
                  <a:pt x="27726" y="9365"/>
                  <a:pt x="27961" y="9272"/>
                </a:cubicBezTo>
                <a:cubicBezTo>
                  <a:pt x="28196" y="9179"/>
                  <a:pt x="28398" y="9048"/>
                  <a:pt x="28567" y="8880"/>
                </a:cubicBezTo>
                <a:cubicBezTo>
                  <a:pt x="28735" y="8711"/>
                  <a:pt x="28866" y="8509"/>
                  <a:pt x="28959" y="8274"/>
                </a:cubicBezTo>
                <a:cubicBezTo>
                  <a:pt x="29052" y="8039"/>
                  <a:pt x="29098" y="7776"/>
                  <a:pt x="29098" y="7486"/>
                </a:cubicBezTo>
                <a:cubicBezTo>
                  <a:pt x="29098" y="7137"/>
                  <a:pt x="29026" y="6806"/>
                  <a:pt x="28880" y="6492"/>
                </a:cubicBezTo>
                <a:cubicBezTo>
                  <a:pt x="28735" y="6179"/>
                  <a:pt x="28542" y="5901"/>
                  <a:pt x="28301" y="5660"/>
                </a:cubicBezTo>
                <a:cubicBezTo>
                  <a:pt x="28060" y="5419"/>
                  <a:pt x="27783" y="5229"/>
                  <a:pt x="27469" y="5090"/>
                </a:cubicBezTo>
                <a:cubicBezTo>
                  <a:pt x="27155" y="4950"/>
                  <a:pt x="26830" y="4880"/>
                  <a:pt x="26493" y="4880"/>
                </a:cubicBezTo>
                <a:lnTo>
                  <a:pt x="24672" y="4880"/>
                </a:lnTo>
                <a:close/>
                <a:moveTo>
                  <a:pt x="25988" y="6240"/>
                </a:moveTo>
                <a:cubicBezTo>
                  <a:pt x="26122" y="6100"/>
                  <a:pt x="26293" y="6031"/>
                  <a:pt x="26502" y="6031"/>
                </a:cubicBezTo>
                <a:cubicBezTo>
                  <a:pt x="26664" y="6031"/>
                  <a:pt x="26827" y="6076"/>
                  <a:pt x="26990" y="6166"/>
                </a:cubicBezTo>
                <a:cubicBezTo>
                  <a:pt x="27152" y="6256"/>
                  <a:pt x="27299" y="6372"/>
                  <a:pt x="27430" y="6514"/>
                </a:cubicBezTo>
                <a:cubicBezTo>
                  <a:pt x="27561" y="6657"/>
                  <a:pt x="27668" y="6815"/>
                  <a:pt x="27753" y="6989"/>
                </a:cubicBezTo>
                <a:cubicBezTo>
                  <a:pt x="27836" y="7163"/>
                  <a:pt x="27879" y="7338"/>
                  <a:pt x="27879" y="7512"/>
                </a:cubicBezTo>
                <a:cubicBezTo>
                  <a:pt x="27879" y="7732"/>
                  <a:pt x="27813" y="7913"/>
                  <a:pt x="27682" y="8052"/>
                </a:cubicBezTo>
                <a:cubicBezTo>
                  <a:pt x="27551" y="8191"/>
                  <a:pt x="27379" y="8262"/>
                  <a:pt x="27164" y="8262"/>
                </a:cubicBezTo>
                <a:cubicBezTo>
                  <a:pt x="27001" y="8262"/>
                  <a:pt x="26839" y="8216"/>
                  <a:pt x="26676" y="8126"/>
                </a:cubicBezTo>
                <a:cubicBezTo>
                  <a:pt x="26513" y="8036"/>
                  <a:pt x="26367" y="7920"/>
                  <a:pt x="26236" y="7777"/>
                </a:cubicBezTo>
                <a:cubicBezTo>
                  <a:pt x="26105" y="7635"/>
                  <a:pt x="25998" y="7477"/>
                  <a:pt x="25914" y="7303"/>
                </a:cubicBezTo>
                <a:cubicBezTo>
                  <a:pt x="25830" y="7128"/>
                  <a:pt x="25787" y="6954"/>
                  <a:pt x="25787" y="6780"/>
                </a:cubicBezTo>
                <a:cubicBezTo>
                  <a:pt x="25787" y="6560"/>
                  <a:pt x="25854" y="6379"/>
                  <a:pt x="25988" y="6240"/>
                </a:cubicBezTo>
                <a:close/>
                <a:moveTo>
                  <a:pt x="14313" y="654"/>
                </a:moveTo>
                <a:cubicBezTo>
                  <a:pt x="14313" y="293"/>
                  <a:pt x="14021" y="1"/>
                  <a:pt x="13660" y="1"/>
                </a:cubicBezTo>
                <a:cubicBezTo>
                  <a:pt x="12968" y="1"/>
                  <a:pt x="12968" y="1"/>
                  <a:pt x="12968" y="1"/>
                </a:cubicBezTo>
                <a:cubicBezTo>
                  <a:pt x="12933" y="1"/>
                  <a:pt x="12902" y="15"/>
                  <a:pt x="12879" y="37"/>
                </a:cubicBezTo>
                <a:cubicBezTo>
                  <a:pt x="11492" y="1339"/>
                  <a:pt x="11492" y="1339"/>
                  <a:pt x="11492" y="1339"/>
                </a:cubicBezTo>
                <a:cubicBezTo>
                  <a:pt x="11017" y="1785"/>
                  <a:pt x="10377" y="2036"/>
                  <a:pt x="9674" y="2036"/>
                </a:cubicBezTo>
                <a:cubicBezTo>
                  <a:pt x="8941" y="2036"/>
                  <a:pt x="8278" y="1762"/>
                  <a:pt x="7798" y="1282"/>
                </a:cubicBezTo>
                <a:cubicBezTo>
                  <a:pt x="7798" y="1282"/>
                  <a:pt x="6778" y="324"/>
                  <a:pt x="6769" y="316"/>
                </a:cubicBezTo>
                <a:cubicBezTo>
                  <a:pt x="6573" y="133"/>
                  <a:pt x="6304" y="8"/>
                  <a:pt x="5994" y="1"/>
                </a:cubicBezTo>
                <a:cubicBezTo>
                  <a:pt x="5165" y="1"/>
                  <a:pt x="5165" y="1"/>
                  <a:pt x="5165" y="1"/>
                </a:cubicBezTo>
                <a:cubicBezTo>
                  <a:pt x="5093" y="1"/>
                  <a:pt x="5035" y="59"/>
                  <a:pt x="5035" y="131"/>
                </a:cubicBezTo>
                <a:cubicBezTo>
                  <a:pt x="5035" y="3791"/>
                  <a:pt x="5035" y="3791"/>
                  <a:pt x="5035" y="3791"/>
                </a:cubicBezTo>
                <a:cubicBezTo>
                  <a:pt x="5035" y="4152"/>
                  <a:pt x="5327" y="4444"/>
                  <a:pt x="5688" y="4444"/>
                </a:cubicBezTo>
                <a:cubicBezTo>
                  <a:pt x="5941" y="4444"/>
                  <a:pt x="5941" y="4444"/>
                  <a:pt x="5941" y="4444"/>
                </a:cubicBezTo>
                <a:cubicBezTo>
                  <a:pt x="6112" y="4444"/>
                  <a:pt x="6112" y="4444"/>
                  <a:pt x="6112" y="4444"/>
                </a:cubicBezTo>
                <a:cubicBezTo>
                  <a:pt x="6184" y="4444"/>
                  <a:pt x="6243" y="4385"/>
                  <a:pt x="6243" y="4313"/>
                </a:cubicBezTo>
                <a:cubicBezTo>
                  <a:pt x="6243" y="3010"/>
                  <a:pt x="6243" y="3010"/>
                  <a:pt x="6243" y="3010"/>
                </a:cubicBezTo>
                <a:cubicBezTo>
                  <a:pt x="6243" y="2670"/>
                  <a:pt x="6521" y="2390"/>
                  <a:pt x="6856" y="2390"/>
                </a:cubicBezTo>
                <a:cubicBezTo>
                  <a:pt x="7479" y="2390"/>
                  <a:pt x="7926" y="2923"/>
                  <a:pt x="8330" y="3280"/>
                </a:cubicBezTo>
                <a:cubicBezTo>
                  <a:pt x="8825" y="3717"/>
                  <a:pt x="9205" y="4138"/>
                  <a:pt x="9674" y="4138"/>
                </a:cubicBezTo>
                <a:cubicBezTo>
                  <a:pt x="10142" y="4138"/>
                  <a:pt x="10523" y="3717"/>
                  <a:pt x="11018" y="3280"/>
                </a:cubicBezTo>
                <a:cubicBezTo>
                  <a:pt x="11422" y="2923"/>
                  <a:pt x="11869" y="2390"/>
                  <a:pt x="12492" y="2390"/>
                </a:cubicBezTo>
                <a:cubicBezTo>
                  <a:pt x="12825" y="2390"/>
                  <a:pt x="13101" y="2667"/>
                  <a:pt x="13104" y="3005"/>
                </a:cubicBezTo>
                <a:cubicBezTo>
                  <a:pt x="13104" y="3005"/>
                  <a:pt x="13104" y="3785"/>
                  <a:pt x="13104" y="3791"/>
                </a:cubicBezTo>
                <a:cubicBezTo>
                  <a:pt x="13104" y="4152"/>
                  <a:pt x="13397" y="4443"/>
                  <a:pt x="13758" y="4443"/>
                </a:cubicBezTo>
                <a:cubicBezTo>
                  <a:pt x="13758" y="4443"/>
                  <a:pt x="14030" y="4443"/>
                  <a:pt x="14040" y="4443"/>
                </a:cubicBezTo>
                <a:cubicBezTo>
                  <a:pt x="14114" y="4443"/>
                  <a:pt x="14182" y="4444"/>
                  <a:pt x="14182" y="4444"/>
                </a:cubicBezTo>
                <a:cubicBezTo>
                  <a:pt x="14182" y="4444"/>
                  <a:pt x="14182" y="4444"/>
                  <a:pt x="14182" y="4444"/>
                </a:cubicBezTo>
                <a:cubicBezTo>
                  <a:pt x="14255" y="4444"/>
                  <a:pt x="14313" y="4385"/>
                  <a:pt x="14313" y="4313"/>
                </a:cubicBezTo>
                <a:cubicBezTo>
                  <a:pt x="14313" y="4311"/>
                  <a:pt x="14313" y="685"/>
                  <a:pt x="14313" y="65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Textplatzhalter 29">
            <a:extLst>
              <a:ext uri="{FF2B5EF4-FFF2-40B4-BE49-F238E27FC236}">
                <a16:creationId xmlns:a16="http://schemas.microsoft.com/office/drawing/2014/main" id="{9E8C378C-4155-4611-9955-3D984994A1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376" y="5250944"/>
            <a:ext cx="2516400" cy="12744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718895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4845FE99-9202-4AE1-9418-BFD12BC99C4F}"/>
              </a:ext>
            </a:extLst>
          </p:cNvPr>
          <p:cNvSpPr/>
          <p:nvPr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DCB9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8E4745C-7424-4744-95A2-7BBEC14E95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951538" y="3597205"/>
            <a:ext cx="5617069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61BF4E9-64E1-4E8E-BE68-96228166E5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952081" y="2877197"/>
            <a:ext cx="5616521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92C4668-0E92-4A26-BFD2-87F3BE8E08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952081" y="1484784"/>
            <a:ext cx="5616521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1" name="Rechteck 18">
            <a:extLst>
              <a:ext uri="{FF2B5EF4-FFF2-40B4-BE49-F238E27FC236}">
                <a16:creationId xmlns:a16="http://schemas.microsoft.com/office/drawing/2014/main" id="{E71A0A65-80CD-47CE-8853-8A16F89BF948}"/>
              </a:ext>
            </a:extLst>
          </p:cNvPr>
          <p:cNvSpPr/>
          <p:nvPr/>
        </p:nvSpPr>
        <p:spPr bwMode="gray">
          <a:xfrm>
            <a:off x="5951045" y="404664"/>
            <a:ext cx="5617068" cy="14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 algn="l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chemeClr val="accent1"/>
                </a:solidFill>
                <a:latin typeface="+mn-lt"/>
              </a:rPr>
              <a:t>The Healthcare business of Merck KGaA, Darmstadt, Germany operates as EMD Serono in the U.S. and Canada.</a:t>
            </a:r>
          </a:p>
        </p:txBody>
      </p:sp>
      <p:sp>
        <p:nvSpPr>
          <p:cNvPr id="9" name="Rechteck 19">
            <a:extLst>
              <a:ext uri="{FF2B5EF4-FFF2-40B4-BE49-F238E27FC236}">
                <a16:creationId xmlns:a16="http://schemas.microsoft.com/office/drawing/2014/main" id="{27020D66-5228-4475-A7EF-5D5D8FF0B812}"/>
              </a:ext>
            </a:extLst>
          </p:cNvPr>
          <p:cNvSpPr/>
          <p:nvPr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04647931-7648-4D0B-88BC-321240EC4688}"/>
              </a:ext>
            </a:extLst>
          </p:cNvPr>
          <p:cNvSpPr>
            <a:spLocks noEditPoints="1"/>
          </p:cNvSpPr>
          <p:nvPr/>
        </p:nvSpPr>
        <p:spPr bwMode="auto">
          <a:xfrm>
            <a:off x="10422509" y="6093296"/>
            <a:ext cx="1367855" cy="441875"/>
          </a:xfrm>
          <a:custGeom>
            <a:avLst/>
            <a:gdLst>
              <a:gd name="T0" fmla="*/ 13061 w 29098"/>
              <a:gd name="T1" fmla="*/ 9162 h 9411"/>
              <a:gd name="T2" fmla="*/ 11664 w 29098"/>
              <a:gd name="T3" fmla="*/ 7057 h 9411"/>
              <a:gd name="T4" fmla="*/ 11001 w 29098"/>
              <a:gd name="T5" fmla="*/ 6227 h 9411"/>
              <a:gd name="T6" fmla="*/ 10360 w 29098"/>
              <a:gd name="T7" fmla="*/ 9281 h 9411"/>
              <a:gd name="T8" fmla="*/ 9758 w 29098"/>
              <a:gd name="T9" fmla="*/ 8651 h 9411"/>
              <a:gd name="T10" fmla="*/ 12545 w 29098"/>
              <a:gd name="T11" fmla="*/ 5032 h 9411"/>
              <a:gd name="T12" fmla="*/ 13333 w 29098"/>
              <a:gd name="T13" fmla="*/ 7961 h 9411"/>
              <a:gd name="T14" fmla="*/ 7385 w 29098"/>
              <a:gd name="T15" fmla="*/ 8170 h 9411"/>
              <a:gd name="T16" fmla="*/ 6282 w 29098"/>
              <a:gd name="T17" fmla="*/ 6221 h 9411"/>
              <a:gd name="T18" fmla="*/ 7535 w 29098"/>
              <a:gd name="T19" fmla="*/ 6225 h 9411"/>
              <a:gd name="T20" fmla="*/ 7547 w 29098"/>
              <a:gd name="T21" fmla="*/ 7685 h 9411"/>
              <a:gd name="T22" fmla="*/ 8605 w 29098"/>
              <a:gd name="T23" fmla="*/ 5629 h 9411"/>
              <a:gd name="T24" fmla="*/ 4916 w 29098"/>
              <a:gd name="T25" fmla="*/ 6804 h 9411"/>
              <a:gd name="T26" fmla="*/ 9258 w 29098"/>
              <a:gd name="T27" fmla="*/ 9324 h 9411"/>
              <a:gd name="T28" fmla="*/ 4093 w 29098"/>
              <a:gd name="T29" fmla="*/ 2779 h 9411"/>
              <a:gd name="T30" fmla="*/ 1357 w 29098"/>
              <a:gd name="T31" fmla="*/ 1629 h 9411"/>
              <a:gd name="T32" fmla="*/ 4476 w 29098"/>
              <a:gd name="T33" fmla="*/ 688 h 9411"/>
              <a:gd name="T34" fmla="*/ 120 w 29098"/>
              <a:gd name="T35" fmla="*/ 2535 h 9411"/>
              <a:gd name="T36" fmla="*/ 4442 w 29098"/>
              <a:gd name="T37" fmla="*/ 4443 h 9411"/>
              <a:gd name="T38" fmla="*/ 2045 w 29098"/>
              <a:gd name="T39" fmla="*/ 3293 h 9411"/>
              <a:gd name="T40" fmla="*/ 18887 w 29098"/>
              <a:gd name="T41" fmla="*/ 3969 h 9411"/>
              <a:gd name="T42" fmla="*/ 16748 w 29098"/>
              <a:gd name="T43" fmla="*/ 0 h 9411"/>
              <a:gd name="T44" fmla="*/ 15563 w 29098"/>
              <a:gd name="T45" fmla="*/ 4443 h 9411"/>
              <a:gd name="T46" fmla="*/ 18186 w 29098"/>
              <a:gd name="T47" fmla="*/ 2614 h 9411"/>
              <a:gd name="T48" fmla="*/ 16265 w 29098"/>
              <a:gd name="T49" fmla="*/ 1355 h 9411"/>
              <a:gd name="T50" fmla="*/ 3542 w 29098"/>
              <a:gd name="T51" fmla="*/ 6292 h 9411"/>
              <a:gd name="T52" fmla="*/ 4417 w 29098"/>
              <a:gd name="T53" fmla="*/ 5517 h 9411"/>
              <a:gd name="T54" fmla="*/ 292 w 29098"/>
              <a:gd name="T55" fmla="*/ 5547 h 9411"/>
              <a:gd name="T56" fmla="*/ 2074 w 29098"/>
              <a:gd name="T57" fmla="*/ 7582 h 9411"/>
              <a:gd name="T58" fmla="*/ 2897 w 29098"/>
              <a:gd name="T59" fmla="*/ 8144 h 9411"/>
              <a:gd name="T60" fmla="*/ 810 w 29098"/>
              <a:gd name="T61" fmla="*/ 7799 h 9411"/>
              <a:gd name="T62" fmla="*/ 475 w 29098"/>
              <a:gd name="T63" fmla="*/ 8901 h 9411"/>
              <a:gd name="T64" fmla="*/ 4470 w 29098"/>
              <a:gd name="T65" fmla="*/ 9289 h 9411"/>
              <a:gd name="T66" fmla="*/ 3612 w 29098"/>
              <a:gd name="T67" fmla="*/ 6737 h 9411"/>
              <a:gd name="T68" fmla="*/ 2836 w 29098"/>
              <a:gd name="T69" fmla="*/ 5991 h 9411"/>
              <a:gd name="T70" fmla="*/ 15386 w 29098"/>
              <a:gd name="T71" fmla="*/ 8631 h 9411"/>
              <a:gd name="T72" fmla="*/ 18981 w 29098"/>
              <a:gd name="T73" fmla="*/ 8274 h 9411"/>
              <a:gd name="T74" fmla="*/ 16515 w 29098"/>
              <a:gd name="T75" fmla="*/ 4880 h 9411"/>
              <a:gd name="T76" fmla="*/ 17452 w 29098"/>
              <a:gd name="T77" fmla="*/ 6514 h 9411"/>
              <a:gd name="T78" fmla="*/ 16698 w 29098"/>
              <a:gd name="T79" fmla="*/ 8126 h 9411"/>
              <a:gd name="T80" fmla="*/ 20692 w 29098"/>
              <a:gd name="T81" fmla="*/ 5081 h 9411"/>
              <a:gd name="T82" fmla="*/ 19742 w 29098"/>
              <a:gd name="T83" fmla="*/ 9141 h 9411"/>
              <a:gd name="T84" fmla="*/ 22905 w 29098"/>
              <a:gd name="T85" fmla="*/ 9124 h 9411"/>
              <a:gd name="T86" fmla="*/ 23820 w 29098"/>
              <a:gd name="T87" fmla="*/ 5063 h 9411"/>
              <a:gd name="T88" fmla="*/ 22700 w 29098"/>
              <a:gd name="T89" fmla="*/ 6653 h 9411"/>
              <a:gd name="T90" fmla="*/ 24568 w 29098"/>
              <a:gd name="T91" fmla="*/ 5002 h 9411"/>
              <a:gd name="T92" fmla="*/ 27172 w 29098"/>
              <a:gd name="T93" fmla="*/ 9411 h 9411"/>
              <a:gd name="T94" fmla="*/ 28880 w 29098"/>
              <a:gd name="T95" fmla="*/ 6492 h 9411"/>
              <a:gd name="T96" fmla="*/ 25988 w 29098"/>
              <a:gd name="T97" fmla="*/ 6240 h 9411"/>
              <a:gd name="T98" fmla="*/ 27879 w 29098"/>
              <a:gd name="T99" fmla="*/ 7512 h 9411"/>
              <a:gd name="T100" fmla="*/ 25914 w 29098"/>
              <a:gd name="T101" fmla="*/ 7303 h 9411"/>
              <a:gd name="T102" fmla="*/ 12968 w 29098"/>
              <a:gd name="T103" fmla="*/ 1 h 9411"/>
              <a:gd name="T104" fmla="*/ 6769 w 29098"/>
              <a:gd name="T105" fmla="*/ 316 h 9411"/>
              <a:gd name="T106" fmla="*/ 5688 w 29098"/>
              <a:gd name="T107" fmla="*/ 4444 h 9411"/>
              <a:gd name="T108" fmla="*/ 6856 w 29098"/>
              <a:gd name="T109" fmla="*/ 2390 h 9411"/>
              <a:gd name="T110" fmla="*/ 13104 w 29098"/>
              <a:gd name="T111" fmla="*/ 3005 h 9411"/>
              <a:gd name="T112" fmla="*/ 14182 w 29098"/>
              <a:gd name="T113" fmla="*/ 4444 h 9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9098" h="9411">
                <a:moveTo>
                  <a:pt x="14591" y="8890"/>
                </a:moveTo>
                <a:cubicBezTo>
                  <a:pt x="14591" y="9198"/>
                  <a:pt x="14591" y="9198"/>
                  <a:pt x="14591" y="9198"/>
                </a:cubicBezTo>
                <a:cubicBezTo>
                  <a:pt x="14591" y="9279"/>
                  <a:pt x="14557" y="9324"/>
                  <a:pt x="14489" y="9324"/>
                </a:cubicBezTo>
                <a:cubicBezTo>
                  <a:pt x="13522" y="9323"/>
                  <a:pt x="13522" y="9323"/>
                  <a:pt x="13522" y="9323"/>
                </a:cubicBezTo>
                <a:cubicBezTo>
                  <a:pt x="13357" y="9323"/>
                  <a:pt x="13204" y="9266"/>
                  <a:pt x="13061" y="9162"/>
                </a:cubicBezTo>
                <a:cubicBezTo>
                  <a:pt x="13061" y="9162"/>
                  <a:pt x="11599" y="8009"/>
                  <a:pt x="11595" y="8005"/>
                </a:cubicBezTo>
                <a:cubicBezTo>
                  <a:pt x="11496" y="7918"/>
                  <a:pt x="11431" y="7774"/>
                  <a:pt x="11431" y="7610"/>
                </a:cubicBezTo>
                <a:cubicBezTo>
                  <a:pt x="11431" y="7609"/>
                  <a:pt x="11431" y="7134"/>
                  <a:pt x="11431" y="7134"/>
                </a:cubicBezTo>
                <a:cubicBezTo>
                  <a:pt x="11431" y="7053"/>
                  <a:pt x="11456" y="7013"/>
                  <a:pt x="11508" y="7013"/>
                </a:cubicBezTo>
                <a:cubicBezTo>
                  <a:pt x="11559" y="7013"/>
                  <a:pt x="11629" y="7046"/>
                  <a:pt x="11664" y="7057"/>
                </a:cubicBezTo>
                <a:cubicBezTo>
                  <a:pt x="11739" y="7084"/>
                  <a:pt x="11834" y="7110"/>
                  <a:pt x="11840" y="7111"/>
                </a:cubicBezTo>
                <a:cubicBezTo>
                  <a:pt x="11992" y="7160"/>
                  <a:pt x="12140" y="7185"/>
                  <a:pt x="12284" y="7185"/>
                </a:cubicBezTo>
                <a:cubicBezTo>
                  <a:pt x="12587" y="7185"/>
                  <a:pt x="12829" y="7051"/>
                  <a:pt x="12905" y="6835"/>
                </a:cubicBezTo>
                <a:cubicBezTo>
                  <a:pt x="12975" y="6636"/>
                  <a:pt x="12778" y="6174"/>
                  <a:pt x="12107" y="6005"/>
                </a:cubicBezTo>
                <a:cubicBezTo>
                  <a:pt x="11604" y="5877"/>
                  <a:pt x="11137" y="5976"/>
                  <a:pt x="11001" y="6227"/>
                </a:cubicBezTo>
                <a:cubicBezTo>
                  <a:pt x="11001" y="6227"/>
                  <a:pt x="10980" y="6266"/>
                  <a:pt x="10968" y="6306"/>
                </a:cubicBezTo>
                <a:cubicBezTo>
                  <a:pt x="10956" y="6345"/>
                  <a:pt x="10953" y="6404"/>
                  <a:pt x="10953" y="6427"/>
                </a:cubicBezTo>
                <a:cubicBezTo>
                  <a:pt x="10953" y="6427"/>
                  <a:pt x="10953" y="8221"/>
                  <a:pt x="10953" y="8246"/>
                </a:cubicBezTo>
                <a:cubicBezTo>
                  <a:pt x="10953" y="8519"/>
                  <a:pt x="10911" y="8773"/>
                  <a:pt x="10741" y="8996"/>
                </a:cubicBezTo>
                <a:cubicBezTo>
                  <a:pt x="10644" y="9125"/>
                  <a:pt x="10513" y="9231"/>
                  <a:pt x="10360" y="9281"/>
                </a:cubicBezTo>
                <a:cubicBezTo>
                  <a:pt x="10262" y="9312"/>
                  <a:pt x="10152" y="9324"/>
                  <a:pt x="10051" y="9324"/>
                </a:cubicBezTo>
                <a:cubicBezTo>
                  <a:pt x="9980" y="9324"/>
                  <a:pt x="9856" y="9320"/>
                  <a:pt x="9800" y="9290"/>
                </a:cubicBezTo>
                <a:cubicBezTo>
                  <a:pt x="9758" y="9267"/>
                  <a:pt x="9758" y="9222"/>
                  <a:pt x="9758" y="9180"/>
                </a:cubicBezTo>
                <a:cubicBezTo>
                  <a:pt x="9758" y="8881"/>
                  <a:pt x="9758" y="8881"/>
                  <a:pt x="9758" y="8881"/>
                </a:cubicBezTo>
                <a:cubicBezTo>
                  <a:pt x="9758" y="8651"/>
                  <a:pt x="9758" y="8651"/>
                  <a:pt x="9758" y="8651"/>
                </a:cubicBezTo>
                <a:cubicBezTo>
                  <a:pt x="9758" y="7985"/>
                  <a:pt x="9758" y="7985"/>
                  <a:pt x="9758" y="7985"/>
                </a:cubicBezTo>
                <a:cubicBezTo>
                  <a:pt x="9758" y="7985"/>
                  <a:pt x="9758" y="4984"/>
                  <a:pt x="9758" y="4977"/>
                </a:cubicBezTo>
                <a:cubicBezTo>
                  <a:pt x="9758" y="4924"/>
                  <a:pt x="9801" y="4880"/>
                  <a:pt x="9855" y="4880"/>
                </a:cubicBezTo>
                <a:cubicBezTo>
                  <a:pt x="9858" y="4880"/>
                  <a:pt x="11649" y="4880"/>
                  <a:pt x="11649" y="4880"/>
                </a:cubicBezTo>
                <a:cubicBezTo>
                  <a:pt x="11945" y="4880"/>
                  <a:pt x="12240" y="4931"/>
                  <a:pt x="12545" y="5032"/>
                </a:cubicBezTo>
                <a:cubicBezTo>
                  <a:pt x="12849" y="5134"/>
                  <a:pt x="13124" y="5271"/>
                  <a:pt x="13368" y="5445"/>
                </a:cubicBezTo>
                <a:cubicBezTo>
                  <a:pt x="13613" y="5619"/>
                  <a:pt x="13812" y="5824"/>
                  <a:pt x="13966" y="6059"/>
                </a:cubicBezTo>
                <a:cubicBezTo>
                  <a:pt x="14120" y="6294"/>
                  <a:pt x="14196" y="6545"/>
                  <a:pt x="14196" y="6812"/>
                </a:cubicBezTo>
                <a:cubicBezTo>
                  <a:pt x="14196" y="7096"/>
                  <a:pt x="14111" y="7323"/>
                  <a:pt x="13953" y="7504"/>
                </a:cubicBezTo>
                <a:cubicBezTo>
                  <a:pt x="13699" y="7795"/>
                  <a:pt x="13419" y="7907"/>
                  <a:pt x="13333" y="7961"/>
                </a:cubicBezTo>
                <a:cubicBezTo>
                  <a:pt x="13409" y="8021"/>
                  <a:pt x="13586" y="8161"/>
                  <a:pt x="13825" y="8350"/>
                </a:cubicBezTo>
                <a:cubicBezTo>
                  <a:pt x="14287" y="8715"/>
                  <a:pt x="14521" y="8780"/>
                  <a:pt x="14522" y="8780"/>
                </a:cubicBezTo>
                <a:cubicBezTo>
                  <a:pt x="14554" y="8793"/>
                  <a:pt x="14591" y="8842"/>
                  <a:pt x="14591" y="8890"/>
                </a:cubicBezTo>
                <a:close/>
                <a:moveTo>
                  <a:pt x="8674" y="8170"/>
                </a:moveTo>
                <a:cubicBezTo>
                  <a:pt x="7385" y="8170"/>
                  <a:pt x="7385" y="8170"/>
                  <a:pt x="7385" y="8170"/>
                </a:cubicBezTo>
                <a:cubicBezTo>
                  <a:pt x="7201" y="8170"/>
                  <a:pt x="7035" y="8122"/>
                  <a:pt x="6873" y="8053"/>
                </a:cubicBezTo>
                <a:cubicBezTo>
                  <a:pt x="6734" y="7994"/>
                  <a:pt x="6522" y="7809"/>
                  <a:pt x="6459" y="7739"/>
                </a:cubicBezTo>
                <a:cubicBezTo>
                  <a:pt x="6341" y="7609"/>
                  <a:pt x="6249" y="7458"/>
                  <a:pt x="6183" y="7287"/>
                </a:cubicBezTo>
                <a:cubicBezTo>
                  <a:pt x="6117" y="7116"/>
                  <a:pt x="6084" y="6940"/>
                  <a:pt x="6084" y="6760"/>
                </a:cubicBezTo>
                <a:cubicBezTo>
                  <a:pt x="6084" y="6529"/>
                  <a:pt x="6150" y="6349"/>
                  <a:pt x="6282" y="6221"/>
                </a:cubicBezTo>
                <a:cubicBezTo>
                  <a:pt x="6298" y="6206"/>
                  <a:pt x="6355" y="6158"/>
                  <a:pt x="6421" y="6119"/>
                </a:cubicBezTo>
                <a:cubicBezTo>
                  <a:pt x="6487" y="6081"/>
                  <a:pt x="6559" y="6061"/>
                  <a:pt x="6607" y="6051"/>
                </a:cubicBezTo>
                <a:cubicBezTo>
                  <a:pt x="6684" y="6033"/>
                  <a:pt x="6768" y="6022"/>
                  <a:pt x="6858" y="6022"/>
                </a:cubicBezTo>
                <a:cubicBezTo>
                  <a:pt x="6947" y="6022"/>
                  <a:pt x="7032" y="6033"/>
                  <a:pt x="7108" y="6051"/>
                </a:cubicBezTo>
                <a:cubicBezTo>
                  <a:pt x="7253" y="6079"/>
                  <a:pt x="7396" y="6137"/>
                  <a:pt x="7535" y="6225"/>
                </a:cubicBezTo>
                <a:cubicBezTo>
                  <a:pt x="7737" y="6352"/>
                  <a:pt x="7949" y="6546"/>
                  <a:pt x="8092" y="6732"/>
                </a:cubicBezTo>
                <a:cubicBezTo>
                  <a:pt x="6751" y="6732"/>
                  <a:pt x="6751" y="6732"/>
                  <a:pt x="6751" y="6732"/>
                </a:cubicBezTo>
                <a:cubicBezTo>
                  <a:pt x="6671" y="6732"/>
                  <a:pt x="6631" y="6767"/>
                  <a:pt x="6631" y="6837"/>
                </a:cubicBezTo>
                <a:cubicBezTo>
                  <a:pt x="6631" y="6976"/>
                  <a:pt x="6652" y="7066"/>
                  <a:pt x="6706" y="7178"/>
                </a:cubicBezTo>
                <a:cubicBezTo>
                  <a:pt x="6761" y="7291"/>
                  <a:pt x="7019" y="7685"/>
                  <a:pt x="7547" y="7685"/>
                </a:cubicBezTo>
                <a:cubicBezTo>
                  <a:pt x="8795" y="7686"/>
                  <a:pt x="8795" y="7686"/>
                  <a:pt x="8795" y="7686"/>
                </a:cubicBezTo>
                <a:cubicBezTo>
                  <a:pt x="9013" y="7686"/>
                  <a:pt x="9164" y="7628"/>
                  <a:pt x="9247" y="7512"/>
                </a:cubicBezTo>
                <a:cubicBezTo>
                  <a:pt x="9331" y="7396"/>
                  <a:pt x="9355" y="7296"/>
                  <a:pt x="9355" y="7139"/>
                </a:cubicBezTo>
                <a:cubicBezTo>
                  <a:pt x="9355" y="6884"/>
                  <a:pt x="9287" y="6634"/>
                  <a:pt x="9152" y="6365"/>
                </a:cubicBezTo>
                <a:cubicBezTo>
                  <a:pt x="9017" y="6095"/>
                  <a:pt x="8834" y="5850"/>
                  <a:pt x="8605" y="5629"/>
                </a:cubicBezTo>
                <a:cubicBezTo>
                  <a:pt x="8375" y="5409"/>
                  <a:pt x="8108" y="5229"/>
                  <a:pt x="7803" y="5090"/>
                </a:cubicBezTo>
                <a:cubicBezTo>
                  <a:pt x="7498" y="4951"/>
                  <a:pt x="7180" y="4880"/>
                  <a:pt x="6847" y="4880"/>
                </a:cubicBezTo>
                <a:cubicBezTo>
                  <a:pt x="6847" y="4880"/>
                  <a:pt x="5015" y="4880"/>
                  <a:pt x="5013" y="4880"/>
                </a:cubicBezTo>
                <a:cubicBezTo>
                  <a:pt x="4960" y="4880"/>
                  <a:pt x="4916" y="4924"/>
                  <a:pt x="4916" y="4977"/>
                </a:cubicBezTo>
                <a:cubicBezTo>
                  <a:pt x="4916" y="4985"/>
                  <a:pt x="4916" y="6804"/>
                  <a:pt x="4916" y="6804"/>
                </a:cubicBezTo>
                <a:cubicBezTo>
                  <a:pt x="4916" y="7146"/>
                  <a:pt x="4982" y="7470"/>
                  <a:pt x="5114" y="7774"/>
                </a:cubicBezTo>
                <a:cubicBezTo>
                  <a:pt x="5246" y="8079"/>
                  <a:pt x="5426" y="8346"/>
                  <a:pt x="5653" y="8575"/>
                </a:cubicBezTo>
                <a:cubicBezTo>
                  <a:pt x="5880" y="8804"/>
                  <a:pt x="6144" y="8985"/>
                  <a:pt x="6446" y="9119"/>
                </a:cubicBezTo>
                <a:cubicBezTo>
                  <a:pt x="6748" y="9252"/>
                  <a:pt x="7072" y="9324"/>
                  <a:pt x="7417" y="9324"/>
                </a:cubicBezTo>
                <a:cubicBezTo>
                  <a:pt x="9258" y="9324"/>
                  <a:pt x="9258" y="9324"/>
                  <a:pt x="9258" y="9324"/>
                </a:cubicBezTo>
                <a:cubicBezTo>
                  <a:pt x="9311" y="9324"/>
                  <a:pt x="9355" y="9281"/>
                  <a:pt x="9355" y="9228"/>
                </a:cubicBezTo>
                <a:cubicBezTo>
                  <a:pt x="9355" y="8858"/>
                  <a:pt x="9355" y="8858"/>
                  <a:pt x="9355" y="8858"/>
                </a:cubicBezTo>
                <a:cubicBezTo>
                  <a:pt x="9355" y="8643"/>
                  <a:pt x="9294" y="8475"/>
                  <a:pt x="9173" y="8353"/>
                </a:cubicBezTo>
                <a:cubicBezTo>
                  <a:pt x="9053" y="8231"/>
                  <a:pt x="8886" y="8170"/>
                  <a:pt x="8674" y="8170"/>
                </a:cubicBezTo>
                <a:close/>
                <a:moveTo>
                  <a:pt x="4093" y="2779"/>
                </a:moveTo>
                <a:cubicBezTo>
                  <a:pt x="4174" y="2779"/>
                  <a:pt x="4215" y="2744"/>
                  <a:pt x="4215" y="2675"/>
                </a:cubicBezTo>
                <a:cubicBezTo>
                  <a:pt x="4215" y="2317"/>
                  <a:pt x="4215" y="2317"/>
                  <a:pt x="4215" y="2317"/>
                </a:cubicBezTo>
                <a:cubicBezTo>
                  <a:pt x="4215" y="2103"/>
                  <a:pt x="4154" y="1934"/>
                  <a:pt x="4032" y="1812"/>
                </a:cubicBezTo>
                <a:cubicBezTo>
                  <a:pt x="3910" y="1690"/>
                  <a:pt x="3741" y="1629"/>
                  <a:pt x="3526" y="1629"/>
                </a:cubicBezTo>
                <a:cubicBezTo>
                  <a:pt x="1357" y="1629"/>
                  <a:pt x="1357" y="1629"/>
                  <a:pt x="1357" y="1629"/>
                </a:cubicBezTo>
                <a:cubicBezTo>
                  <a:pt x="1392" y="1484"/>
                  <a:pt x="1466" y="1368"/>
                  <a:pt x="1579" y="1281"/>
                </a:cubicBezTo>
                <a:cubicBezTo>
                  <a:pt x="1692" y="1194"/>
                  <a:pt x="1842" y="1150"/>
                  <a:pt x="2028" y="1150"/>
                </a:cubicBezTo>
                <a:cubicBezTo>
                  <a:pt x="4354" y="1150"/>
                  <a:pt x="4354" y="1150"/>
                  <a:pt x="4354" y="1150"/>
                </a:cubicBezTo>
                <a:cubicBezTo>
                  <a:pt x="4435" y="1150"/>
                  <a:pt x="4476" y="1115"/>
                  <a:pt x="4476" y="1045"/>
                </a:cubicBezTo>
                <a:cubicBezTo>
                  <a:pt x="4476" y="688"/>
                  <a:pt x="4476" y="688"/>
                  <a:pt x="4476" y="688"/>
                </a:cubicBezTo>
                <a:cubicBezTo>
                  <a:pt x="4476" y="473"/>
                  <a:pt x="4416" y="305"/>
                  <a:pt x="4293" y="183"/>
                </a:cubicBezTo>
                <a:cubicBezTo>
                  <a:pt x="4171" y="61"/>
                  <a:pt x="4003" y="0"/>
                  <a:pt x="3788" y="0"/>
                </a:cubicBezTo>
                <a:cubicBezTo>
                  <a:pt x="224" y="0"/>
                  <a:pt x="224" y="0"/>
                  <a:pt x="224" y="0"/>
                </a:cubicBezTo>
                <a:cubicBezTo>
                  <a:pt x="154" y="0"/>
                  <a:pt x="120" y="41"/>
                  <a:pt x="120" y="122"/>
                </a:cubicBezTo>
                <a:cubicBezTo>
                  <a:pt x="120" y="2535"/>
                  <a:pt x="120" y="2535"/>
                  <a:pt x="120" y="2535"/>
                </a:cubicBezTo>
                <a:cubicBezTo>
                  <a:pt x="120" y="2808"/>
                  <a:pt x="169" y="3063"/>
                  <a:pt x="268" y="3297"/>
                </a:cubicBezTo>
                <a:cubicBezTo>
                  <a:pt x="367" y="3533"/>
                  <a:pt x="504" y="3735"/>
                  <a:pt x="682" y="3903"/>
                </a:cubicBezTo>
                <a:cubicBezTo>
                  <a:pt x="859" y="4072"/>
                  <a:pt x="1071" y="4204"/>
                  <a:pt x="1318" y="4299"/>
                </a:cubicBezTo>
                <a:cubicBezTo>
                  <a:pt x="1565" y="4396"/>
                  <a:pt x="1833" y="4443"/>
                  <a:pt x="2124" y="4443"/>
                </a:cubicBezTo>
                <a:cubicBezTo>
                  <a:pt x="4442" y="4443"/>
                  <a:pt x="4442" y="4443"/>
                  <a:pt x="4442" y="4443"/>
                </a:cubicBezTo>
                <a:cubicBezTo>
                  <a:pt x="4523" y="4443"/>
                  <a:pt x="4563" y="4408"/>
                  <a:pt x="4563" y="4339"/>
                </a:cubicBezTo>
                <a:cubicBezTo>
                  <a:pt x="4563" y="3982"/>
                  <a:pt x="4563" y="3982"/>
                  <a:pt x="4563" y="3982"/>
                </a:cubicBezTo>
                <a:cubicBezTo>
                  <a:pt x="4563" y="3767"/>
                  <a:pt x="4502" y="3598"/>
                  <a:pt x="4380" y="3476"/>
                </a:cubicBezTo>
                <a:cubicBezTo>
                  <a:pt x="4259" y="3354"/>
                  <a:pt x="4090" y="3293"/>
                  <a:pt x="3875" y="3293"/>
                </a:cubicBezTo>
                <a:cubicBezTo>
                  <a:pt x="2045" y="3293"/>
                  <a:pt x="2045" y="3293"/>
                  <a:pt x="2045" y="3293"/>
                </a:cubicBezTo>
                <a:cubicBezTo>
                  <a:pt x="1871" y="3293"/>
                  <a:pt x="1723" y="3245"/>
                  <a:pt x="1601" y="3149"/>
                </a:cubicBezTo>
                <a:cubicBezTo>
                  <a:pt x="1479" y="3054"/>
                  <a:pt x="1398" y="2930"/>
                  <a:pt x="1357" y="2779"/>
                </a:cubicBezTo>
                <a:lnTo>
                  <a:pt x="4093" y="2779"/>
                </a:lnTo>
                <a:close/>
                <a:moveTo>
                  <a:pt x="17445" y="4443"/>
                </a:moveTo>
                <a:cubicBezTo>
                  <a:pt x="18061" y="4443"/>
                  <a:pt x="18541" y="4285"/>
                  <a:pt x="18887" y="3969"/>
                </a:cubicBezTo>
                <a:cubicBezTo>
                  <a:pt x="19233" y="3652"/>
                  <a:pt x="19406" y="3186"/>
                  <a:pt x="19406" y="2570"/>
                </a:cubicBezTo>
                <a:cubicBezTo>
                  <a:pt x="19406" y="2216"/>
                  <a:pt x="19332" y="1882"/>
                  <a:pt x="19183" y="1568"/>
                </a:cubicBezTo>
                <a:cubicBezTo>
                  <a:pt x="19036" y="1254"/>
                  <a:pt x="18838" y="981"/>
                  <a:pt x="18591" y="749"/>
                </a:cubicBezTo>
                <a:cubicBezTo>
                  <a:pt x="18344" y="517"/>
                  <a:pt x="18061" y="334"/>
                  <a:pt x="17741" y="200"/>
                </a:cubicBezTo>
                <a:cubicBezTo>
                  <a:pt x="17422" y="67"/>
                  <a:pt x="17091" y="0"/>
                  <a:pt x="16748" y="0"/>
                </a:cubicBezTo>
                <a:cubicBezTo>
                  <a:pt x="14980" y="0"/>
                  <a:pt x="14980" y="0"/>
                  <a:pt x="14980" y="0"/>
                </a:cubicBezTo>
                <a:cubicBezTo>
                  <a:pt x="14910" y="0"/>
                  <a:pt x="14875" y="41"/>
                  <a:pt x="14875" y="122"/>
                </a:cubicBezTo>
                <a:cubicBezTo>
                  <a:pt x="14875" y="3755"/>
                  <a:pt x="14875" y="3755"/>
                  <a:pt x="14875" y="3755"/>
                </a:cubicBezTo>
                <a:cubicBezTo>
                  <a:pt x="14875" y="3970"/>
                  <a:pt x="14936" y="4139"/>
                  <a:pt x="15058" y="4260"/>
                </a:cubicBezTo>
                <a:cubicBezTo>
                  <a:pt x="15180" y="4382"/>
                  <a:pt x="15349" y="4443"/>
                  <a:pt x="15563" y="4443"/>
                </a:cubicBezTo>
                <a:lnTo>
                  <a:pt x="17445" y="4443"/>
                </a:lnTo>
                <a:close/>
                <a:moveTo>
                  <a:pt x="17258" y="1276"/>
                </a:moveTo>
                <a:cubicBezTo>
                  <a:pt x="17429" y="1361"/>
                  <a:pt x="17583" y="1472"/>
                  <a:pt x="17720" y="1612"/>
                </a:cubicBezTo>
                <a:cubicBezTo>
                  <a:pt x="17856" y="1751"/>
                  <a:pt x="17968" y="1908"/>
                  <a:pt x="18055" y="2082"/>
                </a:cubicBezTo>
                <a:cubicBezTo>
                  <a:pt x="18142" y="2257"/>
                  <a:pt x="18186" y="2434"/>
                  <a:pt x="18186" y="2614"/>
                </a:cubicBezTo>
                <a:cubicBezTo>
                  <a:pt x="18186" y="2828"/>
                  <a:pt x="18115" y="2996"/>
                  <a:pt x="17973" y="3115"/>
                </a:cubicBezTo>
                <a:cubicBezTo>
                  <a:pt x="17830" y="3234"/>
                  <a:pt x="17657" y="3293"/>
                  <a:pt x="17454" y="3293"/>
                </a:cubicBezTo>
                <a:cubicBezTo>
                  <a:pt x="16095" y="3293"/>
                  <a:pt x="16095" y="3293"/>
                  <a:pt x="16095" y="3293"/>
                </a:cubicBezTo>
                <a:cubicBezTo>
                  <a:pt x="16095" y="1882"/>
                  <a:pt x="16095" y="1882"/>
                  <a:pt x="16095" y="1882"/>
                </a:cubicBezTo>
                <a:cubicBezTo>
                  <a:pt x="16095" y="1667"/>
                  <a:pt x="16151" y="1491"/>
                  <a:pt x="16265" y="1355"/>
                </a:cubicBezTo>
                <a:cubicBezTo>
                  <a:pt x="16378" y="1218"/>
                  <a:pt x="16536" y="1150"/>
                  <a:pt x="16739" y="1150"/>
                </a:cubicBezTo>
                <a:cubicBezTo>
                  <a:pt x="16914" y="1150"/>
                  <a:pt x="17087" y="1192"/>
                  <a:pt x="17258" y="1276"/>
                </a:cubicBezTo>
                <a:close/>
                <a:moveTo>
                  <a:pt x="2836" y="5991"/>
                </a:moveTo>
                <a:cubicBezTo>
                  <a:pt x="3042" y="6047"/>
                  <a:pt x="3221" y="6117"/>
                  <a:pt x="3372" y="6205"/>
                </a:cubicBezTo>
                <a:cubicBezTo>
                  <a:pt x="3447" y="6252"/>
                  <a:pt x="3504" y="6280"/>
                  <a:pt x="3542" y="6292"/>
                </a:cubicBezTo>
                <a:cubicBezTo>
                  <a:pt x="3579" y="6304"/>
                  <a:pt x="3621" y="6309"/>
                  <a:pt x="3668" y="6309"/>
                </a:cubicBezTo>
                <a:cubicBezTo>
                  <a:pt x="3773" y="6309"/>
                  <a:pt x="3883" y="6252"/>
                  <a:pt x="3999" y="6135"/>
                </a:cubicBezTo>
                <a:cubicBezTo>
                  <a:pt x="4443" y="5673"/>
                  <a:pt x="4443" y="5673"/>
                  <a:pt x="4443" y="5673"/>
                </a:cubicBezTo>
                <a:cubicBezTo>
                  <a:pt x="4461" y="5656"/>
                  <a:pt x="4470" y="5636"/>
                  <a:pt x="4470" y="5613"/>
                </a:cubicBezTo>
                <a:cubicBezTo>
                  <a:pt x="4470" y="5583"/>
                  <a:pt x="4452" y="5551"/>
                  <a:pt x="4417" y="5517"/>
                </a:cubicBezTo>
                <a:cubicBezTo>
                  <a:pt x="4168" y="5290"/>
                  <a:pt x="3844" y="5113"/>
                  <a:pt x="3446" y="4985"/>
                </a:cubicBezTo>
                <a:cubicBezTo>
                  <a:pt x="3048" y="4858"/>
                  <a:pt x="2628" y="4794"/>
                  <a:pt x="2187" y="4794"/>
                </a:cubicBezTo>
                <a:cubicBezTo>
                  <a:pt x="1913" y="4794"/>
                  <a:pt x="1654" y="4819"/>
                  <a:pt x="1407" y="4872"/>
                </a:cubicBezTo>
                <a:cubicBezTo>
                  <a:pt x="1160" y="4924"/>
                  <a:pt x="941" y="5006"/>
                  <a:pt x="749" y="5116"/>
                </a:cubicBezTo>
                <a:cubicBezTo>
                  <a:pt x="558" y="5226"/>
                  <a:pt x="405" y="5370"/>
                  <a:pt x="292" y="5547"/>
                </a:cubicBezTo>
                <a:cubicBezTo>
                  <a:pt x="178" y="5724"/>
                  <a:pt x="122" y="5938"/>
                  <a:pt x="122" y="6188"/>
                </a:cubicBezTo>
                <a:cubicBezTo>
                  <a:pt x="122" y="6408"/>
                  <a:pt x="171" y="6597"/>
                  <a:pt x="270" y="6754"/>
                </a:cubicBezTo>
                <a:cubicBezTo>
                  <a:pt x="369" y="6911"/>
                  <a:pt x="505" y="7044"/>
                  <a:pt x="679" y="7154"/>
                </a:cubicBezTo>
                <a:cubicBezTo>
                  <a:pt x="854" y="7265"/>
                  <a:pt x="1060" y="7353"/>
                  <a:pt x="1298" y="7420"/>
                </a:cubicBezTo>
                <a:cubicBezTo>
                  <a:pt x="1536" y="7487"/>
                  <a:pt x="1795" y="7541"/>
                  <a:pt x="2074" y="7582"/>
                </a:cubicBezTo>
                <a:cubicBezTo>
                  <a:pt x="2277" y="7611"/>
                  <a:pt x="2442" y="7638"/>
                  <a:pt x="2570" y="7664"/>
                </a:cubicBezTo>
                <a:cubicBezTo>
                  <a:pt x="2698" y="7691"/>
                  <a:pt x="2800" y="7717"/>
                  <a:pt x="2875" y="7743"/>
                </a:cubicBezTo>
                <a:cubicBezTo>
                  <a:pt x="2950" y="7769"/>
                  <a:pt x="3002" y="7798"/>
                  <a:pt x="3028" y="7830"/>
                </a:cubicBezTo>
                <a:cubicBezTo>
                  <a:pt x="3054" y="7862"/>
                  <a:pt x="3067" y="7901"/>
                  <a:pt x="3067" y="7947"/>
                </a:cubicBezTo>
                <a:cubicBezTo>
                  <a:pt x="3067" y="8040"/>
                  <a:pt x="3010" y="8106"/>
                  <a:pt x="2897" y="8144"/>
                </a:cubicBezTo>
                <a:cubicBezTo>
                  <a:pt x="2784" y="8181"/>
                  <a:pt x="2634" y="8200"/>
                  <a:pt x="2448" y="8200"/>
                </a:cubicBezTo>
                <a:cubicBezTo>
                  <a:pt x="2140" y="8200"/>
                  <a:pt x="1879" y="8174"/>
                  <a:pt x="1664" y="8122"/>
                </a:cubicBezTo>
                <a:cubicBezTo>
                  <a:pt x="1449" y="8069"/>
                  <a:pt x="1263" y="7997"/>
                  <a:pt x="1106" y="7904"/>
                </a:cubicBezTo>
                <a:cubicBezTo>
                  <a:pt x="1031" y="7858"/>
                  <a:pt x="974" y="7829"/>
                  <a:pt x="937" y="7817"/>
                </a:cubicBezTo>
                <a:cubicBezTo>
                  <a:pt x="899" y="7805"/>
                  <a:pt x="857" y="7799"/>
                  <a:pt x="810" y="7799"/>
                </a:cubicBezTo>
                <a:cubicBezTo>
                  <a:pt x="705" y="7799"/>
                  <a:pt x="595" y="7858"/>
                  <a:pt x="479" y="7973"/>
                </a:cubicBezTo>
                <a:cubicBezTo>
                  <a:pt x="26" y="8444"/>
                  <a:pt x="26" y="8444"/>
                  <a:pt x="26" y="8444"/>
                </a:cubicBezTo>
                <a:cubicBezTo>
                  <a:pt x="9" y="8462"/>
                  <a:pt x="0" y="8482"/>
                  <a:pt x="0" y="8505"/>
                </a:cubicBezTo>
                <a:cubicBezTo>
                  <a:pt x="0" y="8534"/>
                  <a:pt x="17" y="8566"/>
                  <a:pt x="52" y="8601"/>
                </a:cubicBezTo>
                <a:cubicBezTo>
                  <a:pt x="163" y="8711"/>
                  <a:pt x="303" y="8812"/>
                  <a:pt x="475" y="8901"/>
                </a:cubicBezTo>
                <a:cubicBezTo>
                  <a:pt x="646" y="8991"/>
                  <a:pt x="840" y="9067"/>
                  <a:pt x="1059" y="9128"/>
                </a:cubicBezTo>
                <a:cubicBezTo>
                  <a:pt x="1277" y="9189"/>
                  <a:pt x="1513" y="9237"/>
                  <a:pt x="1769" y="9272"/>
                </a:cubicBezTo>
                <a:cubicBezTo>
                  <a:pt x="2024" y="9307"/>
                  <a:pt x="2292" y="9324"/>
                  <a:pt x="2570" y="9324"/>
                </a:cubicBezTo>
                <a:cubicBezTo>
                  <a:pt x="4409" y="9324"/>
                  <a:pt x="4409" y="9324"/>
                  <a:pt x="4409" y="9324"/>
                </a:cubicBezTo>
                <a:cubicBezTo>
                  <a:pt x="4438" y="9324"/>
                  <a:pt x="4458" y="9313"/>
                  <a:pt x="4470" y="9289"/>
                </a:cubicBezTo>
                <a:cubicBezTo>
                  <a:pt x="4475" y="9278"/>
                  <a:pt x="4478" y="9263"/>
                  <a:pt x="4478" y="9245"/>
                </a:cubicBezTo>
                <a:cubicBezTo>
                  <a:pt x="4478" y="8226"/>
                  <a:pt x="4478" y="8226"/>
                  <a:pt x="4478" y="8226"/>
                </a:cubicBezTo>
                <a:cubicBezTo>
                  <a:pt x="4478" y="7930"/>
                  <a:pt x="4443" y="7685"/>
                  <a:pt x="4374" y="7490"/>
                </a:cubicBezTo>
                <a:cubicBezTo>
                  <a:pt x="4304" y="7296"/>
                  <a:pt x="4205" y="7137"/>
                  <a:pt x="4077" y="7015"/>
                </a:cubicBezTo>
                <a:cubicBezTo>
                  <a:pt x="3950" y="6893"/>
                  <a:pt x="3795" y="6801"/>
                  <a:pt x="3612" y="6737"/>
                </a:cubicBezTo>
                <a:cubicBezTo>
                  <a:pt x="3429" y="6673"/>
                  <a:pt x="3224" y="6623"/>
                  <a:pt x="2997" y="6588"/>
                </a:cubicBezTo>
                <a:cubicBezTo>
                  <a:pt x="2527" y="6518"/>
                  <a:pt x="2155" y="6455"/>
                  <a:pt x="1882" y="6396"/>
                </a:cubicBezTo>
                <a:cubicBezTo>
                  <a:pt x="1609" y="6339"/>
                  <a:pt x="1473" y="6254"/>
                  <a:pt x="1473" y="6144"/>
                </a:cubicBezTo>
                <a:cubicBezTo>
                  <a:pt x="1473" y="5987"/>
                  <a:pt x="1693" y="5909"/>
                  <a:pt x="2135" y="5909"/>
                </a:cubicBezTo>
                <a:cubicBezTo>
                  <a:pt x="2396" y="5909"/>
                  <a:pt x="2630" y="5936"/>
                  <a:pt x="2836" y="5991"/>
                </a:cubicBezTo>
                <a:close/>
                <a:moveTo>
                  <a:pt x="14694" y="4880"/>
                </a:moveTo>
                <a:cubicBezTo>
                  <a:pt x="14624" y="4880"/>
                  <a:pt x="14589" y="4921"/>
                  <a:pt x="14589" y="5002"/>
                </a:cubicBezTo>
                <a:cubicBezTo>
                  <a:pt x="14589" y="6806"/>
                  <a:pt x="14589" y="6806"/>
                  <a:pt x="14589" y="6806"/>
                </a:cubicBezTo>
                <a:cubicBezTo>
                  <a:pt x="14589" y="7154"/>
                  <a:pt x="14662" y="7486"/>
                  <a:pt x="14808" y="7799"/>
                </a:cubicBezTo>
                <a:cubicBezTo>
                  <a:pt x="14953" y="8113"/>
                  <a:pt x="15145" y="8390"/>
                  <a:pt x="15386" y="8631"/>
                </a:cubicBezTo>
                <a:cubicBezTo>
                  <a:pt x="15628" y="8872"/>
                  <a:pt x="15905" y="9062"/>
                  <a:pt x="16219" y="9202"/>
                </a:cubicBezTo>
                <a:cubicBezTo>
                  <a:pt x="16532" y="9342"/>
                  <a:pt x="16857" y="9411"/>
                  <a:pt x="17195" y="9411"/>
                </a:cubicBezTo>
                <a:cubicBezTo>
                  <a:pt x="17485" y="9411"/>
                  <a:pt x="17748" y="9365"/>
                  <a:pt x="17983" y="9272"/>
                </a:cubicBezTo>
                <a:cubicBezTo>
                  <a:pt x="18218" y="9179"/>
                  <a:pt x="18420" y="9048"/>
                  <a:pt x="18589" y="8880"/>
                </a:cubicBezTo>
                <a:cubicBezTo>
                  <a:pt x="18757" y="8711"/>
                  <a:pt x="18888" y="8509"/>
                  <a:pt x="18981" y="8274"/>
                </a:cubicBezTo>
                <a:cubicBezTo>
                  <a:pt x="19074" y="8039"/>
                  <a:pt x="19121" y="7776"/>
                  <a:pt x="19121" y="7486"/>
                </a:cubicBezTo>
                <a:cubicBezTo>
                  <a:pt x="19121" y="7137"/>
                  <a:pt x="19048" y="6806"/>
                  <a:pt x="18902" y="6492"/>
                </a:cubicBezTo>
                <a:cubicBezTo>
                  <a:pt x="18757" y="6179"/>
                  <a:pt x="18564" y="5901"/>
                  <a:pt x="18323" y="5660"/>
                </a:cubicBezTo>
                <a:cubicBezTo>
                  <a:pt x="18082" y="5419"/>
                  <a:pt x="17804" y="5229"/>
                  <a:pt x="17491" y="5090"/>
                </a:cubicBezTo>
                <a:cubicBezTo>
                  <a:pt x="17177" y="4950"/>
                  <a:pt x="16852" y="4880"/>
                  <a:pt x="16515" y="4880"/>
                </a:cubicBezTo>
                <a:lnTo>
                  <a:pt x="14694" y="4880"/>
                </a:lnTo>
                <a:close/>
                <a:moveTo>
                  <a:pt x="16010" y="6240"/>
                </a:moveTo>
                <a:cubicBezTo>
                  <a:pt x="16143" y="6100"/>
                  <a:pt x="16315" y="6031"/>
                  <a:pt x="16524" y="6031"/>
                </a:cubicBezTo>
                <a:cubicBezTo>
                  <a:pt x="16686" y="6031"/>
                  <a:pt x="16849" y="6076"/>
                  <a:pt x="17011" y="6166"/>
                </a:cubicBezTo>
                <a:cubicBezTo>
                  <a:pt x="17174" y="6256"/>
                  <a:pt x="17321" y="6372"/>
                  <a:pt x="17452" y="6514"/>
                </a:cubicBezTo>
                <a:cubicBezTo>
                  <a:pt x="17582" y="6657"/>
                  <a:pt x="17690" y="6815"/>
                  <a:pt x="17774" y="6989"/>
                </a:cubicBezTo>
                <a:cubicBezTo>
                  <a:pt x="17858" y="7163"/>
                  <a:pt x="17900" y="7338"/>
                  <a:pt x="17900" y="7512"/>
                </a:cubicBezTo>
                <a:cubicBezTo>
                  <a:pt x="17900" y="7732"/>
                  <a:pt x="17835" y="7913"/>
                  <a:pt x="17704" y="8052"/>
                </a:cubicBezTo>
                <a:cubicBezTo>
                  <a:pt x="17574" y="8191"/>
                  <a:pt x="17401" y="8262"/>
                  <a:pt x="17186" y="8262"/>
                </a:cubicBezTo>
                <a:cubicBezTo>
                  <a:pt x="17023" y="8262"/>
                  <a:pt x="16861" y="8216"/>
                  <a:pt x="16698" y="8126"/>
                </a:cubicBezTo>
                <a:cubicBezTo>
                  <a:pt x="16535" y="8036"/>
                  <a:pt x="16389" y="7920"/>
                  <a:pt x="16258" y="7777"/>
                </a:cubicBezTo>
                <a:cubicBezTo>
                  <a:pt x="16128" y="7635"/>
                  <a:pt x="16020" y="7477"/>
                  <a:pt x="15936" y="7303"/>
                </a:cubicBezTo>
                <a:cubicBezTo>
                  <a:pt x="15851" y="7128"/>
                  <a:pt x="15810" y="6954"/>
                  <a:pt x="15810" y="6780"/>
                </a:cubicBezTo>
                <a:cubicBezTo>
                  <a:pt x="15810" y="6560"/>
                  <a:pt x="15876" y="6379"/>
                  <a:pt x="16010" y="6240"/>
                </a:cubicBezTo>
                <a:close/>
                <a:moveTo>
                  <a:pt x="20692" y="5081"/>
                </a:moveTo>
                <a:cubicBezTo>
                  <a:pt x="20570" y="4947"/>
                  <a:pt x="20410" y="4880"/>
                  <a:pt x="20212" y="4880"/>
                </a:cubicBezTo>
                <a:cubicBezTo>
                  <a:pt x="19664" y="4880"/>
                  <a:pt x="19664" y="4880"/>
                  <a:pt x="19664" y="4880"/>
                </a:cubicBezTo>
                <a:cubicBezTo>
                  <a:pt x="19594" y="4880"/>
                  <a:pt x="19560" y="4921"/>
                  <a:pt x="19560" y="5002"/>
                </a:cubicBezTo>
                <a:cubicBezTo>
                  <a:pt x="19560" y="8636"/>
                  <a:pt x="19560" y="8636"/>
                  <a:pt x="19560" y="8636"/>
                </a:cubicBezTo>
                <a:cubicBezTo>
                  <a:pt x="19560" y="8851"/>
                  <a:pt x="19620" y="9019"/>
                  <a:pt x="19742" y="9141"/>
                </a:cubicBezTo>
                <a:cubicBezTo>
                  <a:pt x="19864" y="9263"/>
                  <a:pt x="20032" y="9324"/>
                  <a:pt x="20248" y="9324"/>
                </a:cubicBezTo>
                <a:cubicBezTo>
                  <a:pt x="20674" y="9324"/>
                  <a:pt x="20674" y="9324"/>
                  <a:pt x="20674" y="9324"/>
                </a:cubicBezTo>
                <a:cubicBezTo>
                  <a:pt x="20744" y="9324"/>
                  <a:pt x="20779" y="9283"/>
                  <a:pt x="20779" y="9202"/>
                </a:cubicBezTo>
                <a:cubicBezTo>
                  <a:pt x="20779" y="6841"/>
                  <a:pt x="20779" y="6841"/>
                  <a:pt x="20779" y="6841"/>
                </a:cubicBezTo>
                <a:cubicBezTo>
                  <a:pt x="22905" y="9124"/>
                  <a:pt x="22905" y="9124"/>
                  <a:pt x="22905" y="9124"/>
                </a:cubicBezTo>
                <a:cubicBezTo>
                  <a:pt x="23027" y="9257"/>
                  <a:pt x="23186" y="9324"/>
                  <a:pt x="23384" y="9324"/>
                </a:cubicBezTo>
                <a:cubicBezTo>
                  <a:pt x="23898" y="9324"/>
                  <a:pt x="23898" y="9324"/>
                  <a:pt x="23898" y="9324"/>
                </a:cubicBezTo>
                <a:cubicBezTo>
                  <a:pt x="23968" y="9324"/>
                  <a:pt x="24003" y="9283"/>
                  <a:pt x="24003" y="9202"/>
                </a:cubicBezTo>
                <a:cubicBezTo>
                  <a:pt x="24003" y="5569"/>
                  <a:pt x="24003" y="5569"/>
                  <a:pt x="24003" y="5569"/>
                </a:cubicBezTo>
                <a:cubicBezTo>
                  <a:pt x="24003" y="5354"/>
                  <a:pt x="23942" y="5186"/>
                  <a:pt x="23820" y="5063"/>
                </a:cubicBezTo>
                <a:cubicBezTo>
                  <a:pt x="23697" y="4942"/>
                  <a:pt x="23529" y="4880"/>
                  <a:pt x="23314" y="4880"/>
                </a:cubicBezTo>
                <a:cubicBezTo>
                  <a:pt x="22887" y="4880"/>
                  <a:pt x="22887" y="4880"/>
                  <a:pt x="22887" y="4880"/>
                </a:cubicBezTo>
                <a:cubicBezTo>
                  <a:pt x="22818" y="4880"/>
                  <a:pt x="22783" y="4921"/>
                  <a:pt x="22783" y="5002"/>
                </a:cubicBezTo>
                <a:cubicBezTo>
                  <a:pt x="22783" y="6370"/>
                  <a:pt x="22783" y="6370"/>
                  <a:pt x="22783" y="6370"/>
                </a:cubicBezTo>
                <a:cubicBezTo>
                  <a:pt x="22783" y="6487"/>
                  <a:pt x="22755" y="6581"/>
                  <a:pt x="22700" y="6653"/>
                </a:cubicBezTo>
                <a:cubicBezTo>
                  <a:pt x="22645" y="6726"/>
                  <a:pt x="22562" y="6763"/>
                  <a:pt x="22452" y="6763"/>
                </a:cubicBezTo>
                <a:cubicBezTo>
                  <a:pt x="22318" y="6763"/>
                  <a:pt x="22196" y="6702"/>
                  <a:pt x="22086" y="6579"/>
                </a:cubicBezTo>
                <a:lnTo>
                  <a:pt x="20692" y="5081"/>
                </a:lnTo>
                <a:close/>
                <a:moveTo>
                  <a:pt x="24672" y="4880"/>
                </a:moveTo>
                <a:cubicBezTo>
                  <a:pt x="24602" y="4880"/>
                  <a:pt x="24568" y="4921"/>
                  <a:pt x="24568" y="5002"/>
                </a:cubicBezTo>
                <a:cubicBezTo>
                  <a:pt x="24568" y="6806"/>
                  <a:pt x="24568" y="6806"/>
                  <a:pt x="24568" y="6806"/>
                </a:cubicBezTo>
                <a:cubicBezTo>
                  <a:pt x="24568" y="7154"/>
                  <a:pt x="24640" y="7486"/>
                  <a:pt x="24786" y="7799"/>
                </a:cubicBezTo>
                <a:cubicBezTo>
                  <a:pt x="24930" y="8113"/>
                  <a:pt x="25124" y="8390"/>
                  <a:pt x="25365" y="8631"/>
                </a:cubicBezTo>
                <a:cubicBezTo>
                  <a:pt x="25606" y="8872"/>
                  <a:pt x="25883" y="9062"/>
                  <a:pt x="26197" y="9202"/>
                </a:cubicBezTo>
                <a:cubicBezTo>
                  <a:pt x="26510" y="9342"/>
                  <a:pt x="26836" y="9411"/>
                  <a:pt x="27172" y="9411"/>
                </a:cubicBezTo>
                <a:cubicBezTo>
                  <a:pt x="27463" y="9411"/>
                  <a:pt x="27726" y="9365"/>
                  <a:pt x="27961" y="9272"/>
                </a:cubicBezTo>
                <a:cubicBezTo>
                  <a:pt x="28196" y="9179"/>
                  <a:pt x="28398" y="9048"/>
                  <a:pt x="28567" y="8880"/>
                </a:cubicBezTo>
                <a:cubicBezTo>
                  <a:pt x="28735" y="8711"/>
                  <a:pt x="28866" y="8509"/>
                  <a:pt x="28959" y="8274"/>
                </a:cubicBezTo>
                <a:cubicBezTo>
                  <a:pt x="29052" y="8039"/>
                  <a:pt x="29098" y="7776"/>
                  <a:pt x="29098" y="7486"/>
                </a:cubicBezTo>
                <a:cubicBezTo>
                  <a:pt x="29098" y="7137"/>
                  <a:pt x="29026" y="6806"/>
                  <a:pt x="28880" y="6492"/>
                </a:cubicBezTo>
                <a:cubicBezTo>
                  <a:pt x="28735" y="6179"/>
                  <a:pt x="28542" y="5901"/>
                  <a:pt x="28301" y="5660"/>
                </a:cubicBezTo>
                <a:cubicBezTo>
                  <a:pt x="28060" y="5419"/>
                  <a:pt x="27783" y="5229"/>
                  <a:pt x="27469" y="5090"/>
                </a:cubicBezTo>
                <a:cubicBezTo>
                  <a:pt x="27155" y="4950"/>
                  <a:pt x="26830" y="4880"/>
                  <a:pt x="26493" y="4880"/>
                </a:cubicBezTo>
                <a:lnTo>
                  <a:pt x="24672" y="4880"/>
                </a:lnTo>
                <a:close/>
                <a:moveTo>
                  <a:pt x="25988" y="6240"/>
                </a:moveTo>
                <a:cubicBezTo>
                  <a:pt x="26122" y="6100"/>
                  <a:pt x="26293" y="6031"/>
                  <a:pt x="26502" y="6031"/>
                </a:cubicBezTo>
                <a:cubicBezTo>
                  <a:pt x="26664" y="6031"/>
                  <a:pt x="26827" y="6076"/>
                  <a:pt x="26990" y="6166"/>
                </a:cubicBezTo>
                <a:cubicBezTo>
                  <a:pt x="27152" y="6256"/>
                  <a:pt x="27299" y="6372"/>
                  <a:pt x="27430" y="6514"/>
                </a:cubicBezTo>
                <a:cubicBezTo>
                  <a:pt x="27561" y="6657"/>
                  <a:pt x="27668" y="6815"/>
                  <a:pt x="27753" y="6989"/>
                </a:cubicBezTo>
                <a:cubicBezTo>
                  <a:pt x="27836" y="7163"/>
                  <a:pt x="27879" y="7338"/>
                  <a:pt x="27879" y="7512"/>
                </a:cubicBezTo>
                <a:cubicBezTo>
                  <a:pt x="27879" y="7732"/>
                  <a:pt x="27813" y="7913"/>
                  <a:pt x="27682" y="8052"/>
                </a:cubicBezTo>
                <a:cubicBezTo>
                  <a:pt x="27551" y="8191"/>
                  <a:pt x="27379" y="8262"/>
                  <a:pt x="27164" y="8262"/>
                </a:cubicBezTo>
                <a:cubicBezTo>
                  <a:pt x="27001" y="8262"/>
                  <a:pt x="26839" y="8216"/>
                  <a:pt x="26676" y="8126"/>
                </a:cubicBezTo>
                <a:cubicBezTo>
                  <a:pt x="26513" y="8036"/>
                  <a:pt x="26367" y="7920"/>
                  <a:pt x="26236" y="7777"/>
                </a:cubicBezTo>
                <a:cubicBezTo>
                  <a:pt x="26105" y="7635"/>
                  <a:pt x="25998" y="7477"/>
                  <a:pt x="25914" y="7303"/>
                </a:cubicBezTo>
                <a:cubicBezTo>
                  <a:pt x="25830" y="7128"/>
                  <a:pt x="25787" y="6954"/>
                  <a:pt x="25787" y="6780"/>
                </a:cubicBezTo>
                <a:cubicBezTo>
                  <a:pt x="25787" y="6560"/>
                  <a:pt x="25854" y="6379"/>
                  <a:pt x="25988" y="6240"/>
                </a:cubicBezTo>
                <a:close/>
                <a:moveTo>
                  <a:pt x="14313" y="654"/>
                </a:moveTo>
                <a:cubicBezTo>
                  <a:pt x="14313" y="293"/>
                  <a:pt x="14021" y="1"/>
                  <a:pt x="13660" y="1"/>
                </a:cubicBezTo>
                <a:cubicBezTo>
                  <a:pt x="12968" y="1"/>
                  <a:pt x="12968" y="1"/>
                  <a:pt x="12968" y="1"/>
                </a:cubicBezTo>
                <a:cubicBezTo>
                  <a:pt x="12933" y="1"/>
                  <a:pt x="12902" y="15"/>
                  <a:pt x="12879" y="37"/>
                </a:cubicBezTo>
                <a:cubicBezTo>
                  <a:pt x="11492" y="1339"/>
                  <a:pt x="11492" y="1339"/>
                  <a:pt x="11492" y="1339"/>
                </a:cubicBezTo>
                <a:cubicBezTo>
                  <a:pt x="11017" y="1785"/>
                  <a:pt x="10377" y="2036"/>
                  <a:pt x="9674" y="2036"/>
                </a:cubicBezTo>
                <a:cubicBezTo>
                  <a:pt x="8941" y="2036"/>
                  <a:pt x="8278" y="1762"/>
                  <a:pt x="7798" y="1282"/>
                </a:cubicBezTo>
                <a:cubicBezTo>
                  <a:pt x="7798" y="1282"/>
                  <a:pt x="6778" y="324"/>
                  <a:pt x="6769" y="316"/>
                </a:cubicBezTo>
                <a:cubicBezTo>
                  <a:pt x="6573" y="133"/>
                  <a:pt x="6304" y="8"/>
                  <a:pt x="5994" y="1"/>
                </a:cubicBezTo>
                <a:cubicBezTo>
                  <a:pt x="5165" y="1"/>
                  <a:pt x="5165" y="1"/>
                  <a:pt x="5165" y="1"/>
                </a:cubicBezTo>
                <a:cubicBezTo>
                  <a:pt x="5093" y="1"/>
                  <a:pt x="5035" y="59"/>
                  <a:pt x="5035" y="131"/>
                </a:cubicBezTo>
                <a:cubicBezTo>
                  <a:pt x="5035" y="3791"/>
                  <a:pt x="5035" y="3791"/>
                  <a:pt x="5035" y="3791"/>
                </a:cubicBezTo>
                <a:cubicBezTo>
                  <a:pt x="5035" y="4152"/>
                  <a:pt x="5327" y="4444"/>
                  <a:pt x="5688" y="4444"/>
                </a:cubicBezTo>
                <a:cubicBezTo>
                  <a:pt x="5941" y="4444"/>
                  <a:pt x="5941" y="4444"/>
                  <a:pt x="5941" y="4444"/>
                </a:cubicBezTo>
                <a:cubicBezTo>
                  <a:pt x="6112" y="4444"/>
                  <a:pt x="6112" y="4444"/>
                  <a:pt x="6112" y="4444"/>
                </a:cubicBezTo>
                <a:cubicBezTo>
                  <a:pt x="6184" y="4444"/>
                  <a:pt x="6243" y="4385"/>
                  <a:pt x="6243" y="4313"/>
                </a:cubicBezTo>
                <a:cubicBezTo>
                  <a:pt x="6243" y="3010"/>
                  <a:pt x="6243" y="3010"/>
                  <a:pt x="6243" y="3010"/>
                </a:cubicBezTo>
                <a:cubicBezTo>
                  <a:pt x="6243" y="2670"/>
                  <a:pt x="6521" y="2390"/>
                  <a:pt x="6856" y="2390"/>
                </a:cubicBezTo>
                <a:cubicBezTo>
                  <a:pt x="7479" y="2390"/>
                  <a:pt x="7926" y="2923"/>
                  <a:pt x="8330" y="3280"/>
                </a:cubicBezTo>
                <a:cubicBezTo>
                  <a:pt x="8825" y="3717"/>
                  <a:pt x="9205" y="4138"/>
                  <a:pt x="9674" y="4138"/>
                </a:cubicBezTo>
                <a:cubicBezTo>
                  <a:pt x="10142" y="4138"/>
                  <a:pt x="10523" y="3717"/>
                  <a:pt x="11018" y="3280"/>
                </a:cubicBezTo>
                <a:cubicBezTo>
                  <a:pt x="11422" y="2923"/>
                  <a:pt x="11869" y="2390"/>
                  <a:pt x="12492" y="2390"/>
                </a:cubicBezTo>
                <a:cubicBezTo>
                  <a:pt x="12825" y="2390"/>
                  <a:pt x="13101" y="2667"/>
                  <a:pt x="13104" y="3005"/>
                </a:cubicBezTo>
                <a:cubicBezTo>
                  <a:pt x="13104" y="3005"/>
                  <a:pt x="13104" y="3785"/>
                  <a:pt x="13104" y="3791"/>
                </a:cubicBezTo>
                <a:cubicBezTo>
                  <a:pt x="13104" y="4152"/>
                  <a:pt x="13397" y="4443"/>
                  <a:pt x="13758" y="4443"/>
                </a:cubicBezTo>
                <a:cubicBezTo>
                  <a:pt x="13758" y="4443"/>
                  <a:pt x="14030" y="4443"/>
                  <a:pt x="14040" y="4443"/>
                </a:cubicBezTo>
                <a:cubicBezTo>
                  <a:pt x="14114" y="4443"/>
                  <a:pt x="14182" y="4444"/>
                  <a:pt x="14182" y="4444"/>
                </a:cubicBezTo>
                <a:cubicBezTo>
                  <a:pt x="14182" y="4444"/>
                  <a:pt x="14182" y="4444"/>
                  <a:pt x="14182" y="4444"/>
                </a:cubicBezTo>
                <a:cubicBezTo>
                  <a:pt x="14255" y="4444"/>
                  <a:pt x="14313" y="4385"/>
                  <a:pt x="14313" y="4313"/>
                </a:cubicBezTo>
                <a:cubicBezTo>
                  <a:pt x="14313" y="4311"/>
                  <a:pt x="14313" y="685"/>
                  <a:pt x="14313" y="65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701887F7-D953-4004-8422-CD9F999FADC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6171" t="10474" r="7784" b="8056"/>
          <a:stretch/>
        </p:blipFill>
        <p:spPr>
          <a:xfrm>
            <a:off x="0" y="1439501"/>
            <a:ext cx="5350598" cy="4734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088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934EA1-1883-4D38-9FDC-7B4EE39EA9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Manitz et al. | ML Pipeline for Clinical Trial Data | 25.05.2023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9116324-0C1D-439A-912E-27AE05A10F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279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AB8F34D-A5C0-4BC9-B0F3-11856D9ED0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Manitz et al. | ML Pipeline for Clinical Trial Data | 25.05.2023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962AE53-FF41-4032-9C92-554890CB3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4887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 bwMode="gray">
          <a:xfrm>
            <a:off x="6240464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 bwMode="gray">
          <a:xfrm>
            <a:off x="623392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DEF66B1-2B35-4F3D-8FA1-45C43C9298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Manitz et al. | ML Pipeline for Clinical Trial Data | 25.05.2023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594110D-FB2C-4548-B1FA-4A7EB94F133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1172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4845" y="1484314"/>
            <a:ext cx="345493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4368803" y="1484314"/>
            <a:ext cx="3455986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 bwMode="gray">
          <a:xfrm>
            <a:off x="8112000" y="1484313"/>
            <a:ext cx="345600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1"/>
            <a:ext cx="10944225" cy="325952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1328EC7-157B-409E-AF0F-00B8B6EE2D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r>
              <a:rPr lang="en-US"/>
              <a:t>Manitz et al. | ML Pipeline for Clinical Trial Data | 25.05.2023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2B2B86B-BA50-4AE8-98E0-0C5519E10E5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8072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C1A3A0B-4241-4AC5-A07E-A9AC7CC4A1B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Manitz et al. | ML Pipeline for Clinical Trial Data | 25.05.2023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6E51C11-1DC2-48EC-9664-E7966335E1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7729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53" imgH="353" progId="TCLayout.ActiveDocument.1">
                  <p:embed/>
                </p:oleObj>
              </mc:Choice>
              <mc:Fallback>
                <p:oleObj name="think-cell Slide" r:id="rId19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/>
          <p:cNvSpPr/>
          <p:nvPr>
            <p:custDataLst>
              <p:tags r:id="rId16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Manitz et al. | ML Pipeline for Clinical Trial Data | 25.05.2023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404813"/>
            <a:ext cx="10944225" cy="651939"/>
          </a:xfrm>
          <a:prstGeom prst="rect">
            <a:avLst/>
          </a:prstGeom>
          <a:noFill/>
        </p:spPr>
        <p:txBody>
          <a:bodyPr vert="horz" lIns="0" tIns="0" rIns="0" bIns="18000" rtlCol="0" anchor="b" anchorCtr="0"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  <p:sp>
        <p:nvSpPr>
          <p:cNvPr id="3" name="empower - DO NOT DELETE!!!"/>
          <p:cNvSpPr/>
          <p:nvPr>
            <p:custDataLst>
              <p:tags r:id="rId17"/>
            </p:custDataLst>
          </p:nvPr>
        </p:nvSpPr>
        <p:spPr bwMode="gray">
          <a:xfrm>
            <a:off x="-63500" y="-63500"/>
            <a:ext cx="0" cy="0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" name="empower - DO NOT DELETE!!!" hidden="1"/>
          <p:cNvSpPr/>
          <p:nvPr>
            <p:custDataLst>
              <p:tags r:id="rId18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81" name="Grafik 80">
            <a:extLst>
              <a:ext uri="{FF2B5EF4-FFF2-40B4-BE49-F238E27FC236}">
                <a16:creationId xmlns:a16="http://schemas.microsoft.com/office/drawing/2014/main" id="{11899C61-2155-42BE-B7BB-0895C61D374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813256" y="6163832"/>
            <a:ext cx="760686" cy="385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958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</p:sldLayoutIdLst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orient="horz" pos="935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pos="393">
          <p15:clr>
            <a:srgbClr val="F26B43"/>
          </p15:clr>
        </p15:guide>
        <p15:guide id="5" pos="72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9" Type="http://schemas.openxmlformats.org/officeDocument/2006/relationships/slideLayout" Target="../slideLayouts/slideLayout6.xml"/><Relationship Id="rId21" Type="http://schemas.openxmlformats.org/officeDocument/2006/relationships/tags" Target="../tags/tag35.xml"/><Relationship Id="rId34" Type="http://schemas.openxmlformats.org/officeDocument/2006/relationships/tags" Target="../tags/tag48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tags" Target="../tags/tag47.xml"/><Relationship Id="rId38" Type="http://schemas.openxmlformats.org/officeDocument/2006/relationships/tags" Target="../tags/tag52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tags" Target="../tags/tag43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tags" Target="../tags/tag46.xml"/><Relationship Id="rId37" Type="http://schemas.openxmlformats.org/officeDocument/2006/relationships/tags" Target="../tags/tag51.xml"/><Relationship Id="rId40" Type="http://schemas.openxmlformats.org/officeDocument/2006/relationships/image" Target="../media/image7.png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36" Type="http://schemas.openxmlformats.org/officeDocument/2006/relationships/tags" Target="../tags/tag50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31" Type="http://schemas.openxmlformats.org/officeDocument/2006/relationships/tags" Target="../tags/tag45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35" Type="http://schemas.openxmlformats.org/officeDocument/2006/relationships/tags" Target="../tags/tag49.xml"/><Relationship Id="rId8" Type="http://schemas.openxmlformats.org/officeDocument/2006/relationships/tags" Target="../tags/tag22.xml"/><Relationship Id="rId3" Type="http://schemas.openxmlformats.org/officeDocument/2006/relationships/tags" Target="../tags/tag17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26" Type="http://schemas.openxmlformats.org/officeDocument/2006/relationships/tags" Target="../tags/tag78.xml"/><Relationship Id="rId39" Type="http://schemas.openxmlformats.org/officeDocument/2006/relationships/slideLayout" Target="../slideLayouts/slideLayout1.xml"/><Relationship Id="rId21" Type="http://schemas.openxmlformats.org/officeDocument/2006/relationships/tags" Target="../tags/tag73.xml"/><Relationship Id="rId34" Type="http://schemas.openxmlformats.org/officeDocument/2006/relationships/tags" Target="../tags/tag86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tags" Target="../tags/tag72.xml"/><Relationship Id="rId29" Type="http://schemas.openxmlformats.org/officeDocument/2006/relationships/tags" Target="../tags/tag81.xml"/><Relationship Id="rId41" Type="http://schemas.openxmlformats.org/officeDocument/2006/relationships/image" Target="../media/image9.png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tags" Target="../tags/tag76.xml"/><Relationship Id="rId32" Type="http://schemas.openxmlformats.org/officeDocument/2006/relationships/tags" Target="../tags/tag84.xml"/><Relationship Id="rId37" Type="http://schemas.openxmlformats.org/officeDocument/2006/relationships/tags" Target="../tags/tag89.xml"/><Relationship Id="rId40" Type="http://schemas.openxmlformats.org/officeDocument/2006/relationships/image" Target="../media/image8.png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23" Type="http://schemas.openxmlformats.org/officeDocument/2006/relationships/tags" Target="../tags/tag75.xml"/><Relationship Id="rId28" Type="http://schemas.openxmlformats.org/officeDocument/2006/relationships/tags" Target="../tags/tag80.xml"/><Relationship Id="rId36" Type="http://schemas.openxmlformats.org/officeDocument/2006/relationships/tags" Target="../tags/tag88.xml"/><Relationship Id="rId10" Type="http://schemas.openxmlformats.org/officeDocument/2006/relationships/tags" Target="../tags/tag62.xml"/><Relationship Id="rId19" Type="http://schemas.openxmlformats.org/officeDocument/2006/relationships/tags" Target="../tags/tag71.xml"/><Relationship Id="rId31" Type="http://schemas.openxmlformats.org/officeDocument/2006/relationships/tags" Target="../tags/tag83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Relationship Id="rId22" Type="http://schemas.openxmlformats.org/officeDocument/2006/relationships/tags" Target="../tags/tag74.xml"/><Relationship Id="rId27" Type="http://schemas.openxmlformats.org/officeDocument/2006/relationships/tags" Target="../tags/tag79.xml"/><Relationship Id="rId30" Type="http://schemas.openxmlformats.org/officeDocument/2006/relationships/tags" Target="../tags/tag82.xml"/><Relationship Id="rId35" Type="http://schemas.openxmlformats.org/officeDocument/2006/relationships/tags" Target="../tags/tag87.xml"/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5" Type="http://schemas.openxmlformats.org/officeDocument/2006/relationships/tags" Target="../tags/tag77.xml"/><Relationship Id="rId33" Type="http://schemas.openxmlformats.org/officeDocument/2006/relationships/tags" Target="../tags/tag85.xml"/><Relationship Id="rId38" Type="http://schemas.openxmlformats.org/officeDocument/2006/relationships/tags" Target="../tags/tag9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1CAD32-E7C7-4E92-80FD-71F08B4B51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07768" y="3597205"/>
            <a:ext cx="6192688" cy="576262"/>
          </a:xfrm>
        </p:spPr>
        <p:txBody>
          <a:bodyPr/>
          <a:lstStyle/>
          <a:p>
            <a:r>
              <a:rPr lang="en-US" altLang="en-US" sz="1600" dirty="0"/>
              <a:t>Juliane Manitz, Aslihan Gerhold-Ay, Pascal Kieslich </a:t>
            </a:r>
          </a:p>
          <a:p>
            <a:r>
              <a:rPr lang="en-US" altLang="en-US" sz="1600" dirty="0"/>
              <a:t>EMD Serono/Merck Healthcare </a:t>
            </a:r>
            <a:r>
              <a:rPr lang="en-US" altLang="en-US" sz="1600" dirty="0" err="1"/>
              <a:t>KGaA</a:t>
            </a:r>
            <a:r>
              <a:rPr lang="en-US" altLang="en-US" sz="1600" dirty="0"/>
              <a:t> Darmstadt Germany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816AFB6-459C-4702-9651-22AA13260A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7768" y="3141000"/>
            <a:ext cx="5040259" cy="576000"/>
          </a:xfrm>
        </p:spPr>
        <p:txBody>
          <a:bodyPr/>
          <a:lstStyle/>
          <a:p>
            <a:r>
              <a:rPr lang="de-DE" dirty="0"/>
              <a:t>SDSS Abstract #1966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586D0D-312D-4A74-858C-4836E60E7C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07768" y="1484784"/>
            <a:ext cx="6625207" cy="1249282"/>
          </a:xfrm>
        </p:spPr>
        <p:txBody>
          <a:bodyPr/>
          <a:lstStyle/>
          <a:p>
            <a:r>
              <a:rPr lang="de-DE" sz="4000" dirty="0">
                <a:latin typeface="Merck"/>
                <a:ea typeface="Verdana"/>
              </a:rPr>
              <a:t>ML Pipeline for Clinical Trial Dat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526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0229DDE-6F4C-E41F-650C-C08C199C6E8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3888" y="1484313"/>
            <a:ext cx="6840263" cy="4608511"/>
          </a:xfrm>
        </p:spPr>
        <p:txBody>
          <a:bodyPr/>
          <a:lstStyle/>
          <a:p>
            <a:r>
              <a:rPr lang="en-US" altLang="en-US" sz="1800" dirty="0"/>
              <a:t>Survival data from case-control study comparing a novel immuno-oncology drug with conventional chemotherapy.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62607C7-E03B-6BC8-503A-2F2DA722A8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Phase 3 Clinical Trial Data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Manitz et al. | ML Pipeline for Clinical Trial Data | 25.05.2023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/>
              <a:pPr/>
              <a:t>2</a:t>
            </a:fld>
            <a:endParaRPr lang="en-US" dirty="0"/>
          </a:p>
        </p:txBody>
      </p:sp>
      <p:grpSp>
        <p:nvGrpSpPr>
          <p:cNvPr id="31" name="glimpse">
            <a:extLst>
              <a:ext uri="{FF2B5EF4-FFF2-40B4-BE49-F238E27FC236}">
                <a16:creationId xmlns:a16="http://schemas.microsoft.com/office/drawing/2014/main" id="{C0114497-E5CE-FD77-C1D2-6202099EE69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7829922" y="3827172"/>
            <a:ext cx="1276350" cy="1587501"/>
            <a:chOff x="5797550" y="2262188"/>
            <a:chExt cx="1276350" cy="1587501"/>
          </a:xfrm>
        </p:grpSpPr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id="{96946BEC-3B52-C9E0-F0BD-2616171E4D6A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5797550" y="2262188"/>
              <a:ext cx="1276350" cy="1366838"/>
            </a:xfrm>
            <a:custGeom>
              <a:avLst/>
              <a:gdLst>
                <a:gd name="T0" fmla="*/ 318 w 332"/>
                <a:gd name="T1" fmla="*/ 208 h 355"/>
                <a:gd name="T2" fmla="*/ 262 w 332"/>
                <a:gd name="T3" fmla="*/ 50 h 355"/>
                <a:gd name="T4" fmla="*/ 49 w 332"/>
                <a:gd name="T5" fmla="*/ 78 h 355"/>
                <a:gd name="T6" fmla="*/ 67 w 332"/>
                <a:gd name="T7" fmla="*/ 285 h 355"/>
                <a:gd name="T8" fmla="*/ 73 w 332"/>
                <a:gd name="T9" fmla="*/ 303 h 355"/>
                <a:gd name="T10" fmla="*/ 94 w 332"/>
                <a:gd name="T11" fmla="*/ 348 h 355"/>
                <a:gd name="T12" fmla="*/ 140 w 332"/>
                <a:gd name="T13" fmla="*/ 333 h 355"/>
                <a:gd name="T14" fmla="*/ 157 w 332"/>
                <a:gd name="T15" fmla="*/ 324 h 355"/>
                <a:gd name="T16" fmla="*/ 194 w 332"/>
                <a:gd name="T17" fmla="*/ 321 h 355"/>
                <a:gd name="T18" fmla="*/ 318 w 332"/>
                <a:gd name="T19" fmla="*/ 208 h 355"/>
                <a:gd name="T20" fmla="*/ 163 w 332"/>
                <a:gd name="T21" fmla="*/ 255 h 355"/>
                <a:gd name="T22" fmla="*/ 158 w 332"/>
                <a:gd name="T23" fmla="*/ 269 h 355"/>
                <a:gd name="T24" fmla="*/ 153 w 332"/>
                <a:gd name="T25" fmla="*/ 272 h 355"/>
                <a:gd name="T26" fmla="*/ 117 w 332"/>
                <a:gd name="T27" fmla="*/ 259 h 355"/>
                <a:gd name="T28" fmla="*/ 115 w 332"/>
                <a:gd name="T29" fmla="*/ 254 h 355"/>
                <a:gd name="T30" fmla="*/ 127 w 332"/>
                <a:gd name="T31" fmla="*/ 220 h 355"/>
                <a:gd name="T32" fmla="*/ 132 w 332"/>
                <a:gd name="T33" fmla="*/ 217 h 355"/>
                <a:gd name="T34" fmla="*/ 148 w 332"/>
                <a:gd name="T35" fmla="*/ 222 h 355"/>
                <a:gd name="T36" fmla="*/ 163 w 332"/>
                <a:gd name="T37" fmla="*/ 255 h 355"/>
                <a:gd name="T38" fmla="*/ 252 w 332"/>
                <a:gd name="T39" fmla="*/ 196 h 355"/>
                <a:gd name="T40" fmla="*/ 168 w 332"/>
                <a:gd name="T41" fmla="*/ 216 h 355"/>
                <a:gd name="T42" fmla="*/ 138 w 332"/>
                <a:gd name="T43" fmla="*/ 202 h 355"/>
                <a:gd name="T44" fmla="*/ 136 w 332"/>
                <a:gd name="T45" fmla="*/ 196 h 355"/>
                <a:gd name="T46" fmla="*/ 146 w 332"/>
                <a:gd name="T47" fmla="*/ 168 h 355"/>
                <a:gd name="T48" fmla="*/ 153 w 332"/>
                <a:gd name="T49" fmla="*/ 164 h 355"/>
                <a:gd name="T50" fmla="*/ 159 w 332"/>
                <a:gd name="T51" fmla="*/ 167 h 355"/>
                <a:gd name="T52" fmla="*/ 184 w 332"/>
                <a:gd name="T53" fmla="*/ 179 h 355"/>
                <a:gd name="T54" fmla="*/ 207 w 332"/>
                <a:gd name="T55" fmla="*/ 177 h 355"/>
                <a:gd name="T56" fmla="*/ 164 w 332"/>
                <a:gd name="T57" fmla="*/ 140 h 355"/>
                <a:gd name="T58" fmla="*/ 140 w 332"/>
                <a:gd name="T59" fmla="*/ 141 h 355"/>
                <a:gd name="T60" fmla="*/ 130 w 332"/>
                <a:gd name="T61" fmla="*/ 143 h 355"/>
                <a:gd name="T62" fmla="*/ 98 w 332"/>
                <a:gd name="T63" fmla="*/ 132 h 355"/>
                <a:gd name="T64" fmla="*/ 95 w 332"/>
                <a:gd name="T65" fmla="*/ 126 h 355"/>
                <a:gd name="T66" fmla="*/ 182 w 332"/>
                <a:gd name="T67" fmla="*/ 102 h 355"/>
                <a:gd name="T68" fmla="*/ 252 w 332"/>
                <a:gd name="T69" fmla="*/ 196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355">
                  <a:moveTo>
                    <a:pt x="318" y="208"/>
                  </a:moveTo>
                  <a:cubicBezTo>
                    <a:pt x="332" y="150"/>
                    <a:pt x="309" y="84"/>
                    <a:pt x="262" y="50"/>
                  </a:cubicBezTo>
                  <a:cubicBezTo>
                    <a:pt x="194" y="0"/>
                    <a:pt x="104" y="12"/>
                    <a:pt x="49" y="78"/>
                  </a:cubicBezTo>
                  <a:cubicBezTo>
                    <a:pt x="0" y="137"/>
                    <a:pt x="8" y="230"/>
                    <a:pt x="67" y="285"/>
                  </a:cubicBezTo>
                  <a:cubicBezTo>
                    <a:pt x="73" y="290"/>
                    <a:pt x="75" y="295"/>
                    <a:pt x="73" y="303"/>
                  </a:cubicBezTo>
                  <a:cubicBezTo>
                    <a:pt x="68" y="324"/>
                    <a:pt x="76" y="341"/>
                    <a:pt x="94" y="348"/>
                  </a:cubicBezTo>
                  <a:cubicBezTo>
                    <a:pt x="111" y="355"/>
                    <a:pt x="128" y="350"/>
                    <a:pt x="140" y="333"/>
                  </a:cubicBezTo>
                  <a:cubicBezTo>
                    <a:pt x="145" y="326"/>
                    <a:pt x="149" y="322"/>
                    <a:pt x="157" y="324"/>
                  </a:cubicBezTo>
                  <a:cubicBezTo>
                    <a:pt x="169" y="326"/>
                    <a:pt x="180" y="323"/>
                    <a:pt x="194" y="321"/>
                  </a:cubicBezTo>
                  <a:cubicBezTo>
                    <a:pt x="258" y="316"/>
                    <a:pt x="305" y="262"/>
                    <a:pt x="318" y="208"/>
                  </a:cubicBezTo>
                  <a:close/>
                  <a:moveTo>
                    <a:pt x="163" y="255"/>
                  </a:moveTo>
                  <a:cubicBezTo>
                    <a:pt x="158" y="269"/>
                    <a:pt x="158" y="269"/>
                    <a:pt x="158" y="269"/>
                  </a:cubicBezTo>
                  <a:cubicBezTo>
                    <a:pt x="157" y="272"/>
                    <a:pt x="156" y="273"/>
                    <a:pt x="153" y="272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15" y="258"/>
                    <a:pt x="114" y="256"/>
                    <a:pt x="115" y="254"/>
                  </a:cubicBezTo>
                  <a:cubicBezTo>
                    <a:pt x="127" y="220"/>
                    <a:pt x="127" y="220"/>
                    <a:pt x="127" y="220"/>
                  </a:cubicBezTo>
                  <a:cubicBezTo>
                    <a:pt x="128" y="217"/>
                    <a:pt x="130" y="216"/>
                    <a:pt x="132" y="217"/>
                  </a:cubicBezTo>
                  <a:cubicBezTo>
                    <a:pt x="148" y="222"/>
                    <a:pt x="148" y="222"/>
                    <a:pt x="148" y="222"/>
                  </a:cubicBezTo>
                  <a:cubicBezTo>
                    <a:pt x="163" y="227"/>
                    <a:pt x="169" y="240"/>
                    <a:pt x="163" y="255"/>
                  </a:cubicBezTo>
                  <a:close/>
                  <a:moveTo>
                    <a:pt x="252" y="196"/>
                  </a:moveTo>
                  <a:cubicBezTo>
                    <a:pt x="240" y="230"/>
                    <a:pt x="206" y="230"/>
                    <a:pt x="168" y="216"/>
                  </a:cubicBezTo>
                  <a:cubicBezTo>
                    <a:pt x="158" y="213"/>
                    <a:pt x="148" y="207"/>
                    <a:pt x="138" y="202"/>
                  </a:cubicBezTo>
                  <a:cubicBezTo>
                    <a:pt x="135" y="200"/>
                    <a:pt x="135" y="198"/>
                    <a:pt x="136" y="196"/>
                  </a:cubicBezTo>
                  <a:cubicBezTo>
                    <a:pt x="146" y="168"/>
                    <a:pt x="146" y="168"/>
                    <a:pt x="146" y="168"/>
                  </a:cubicBezTo>
                  <a:cubicBezTo>
                    <a:pt x="147" y="164"/>
                    <a:pt x="149" y="163"/>
                    <a:pt x="153" y="164"/>
                  </a:cubicBezTo>
                  <a:cubicBezTo>
                    <a:pt x="155" y="165"/>
                    <a:pt x="157" y="166"/>
                    <a:pt x="159" y="167"/>
                  </a:cubicBezTo>
                  <a:cubicBezTo>
                    <a:pt x="166" y="171"/>
                    <a:pt x="177" y="176"/>
                    <a:pt x="184" y="179"/>
                  </a:cubicBezTo>
                  <a:cubicBezTo>
                    <a:pt x="198" y="183"/>
                    <a:pt x="205" y="183"/>
                    <a:pt x="207" y="177"/>
                  </a:cubicBezTo>
                  <a:cubicBezTo>
                    <a:pt x="212" y="164"/>
                    <a:pt x="181" y="146"/>
                    <a:pt x="164" y="140"/>
                  </a:cubicBezTo>
                  <a:cubicBezTo>
                    <a:pt x="152" y="136"/>
                    <a:pt x="147" y="135"/>
                    <a:pt x="140" y="141"/>
                  </a:cubicBezTo>
                  <a:cubicBezTo>
                    <a:pt x="136" y="144"/>
                    <a:pt x="135" y="144"/>
                    <a:pt x="130" y="143"/>
                  </a:cubicBezTo>
                  <a:cubicBezTo>
                    <a:pt x="98" y="132"/>
                    <a:pt x="98" y="132"/>
                    <a:pt x="98" y="132"/>
                  </a:cubicBezTo>
                  <a:cubicBezTo>
                    <a:pt x="95" y="131"/>
                    <a:pt x="94" y="129"/>
                    <a:pt x="95" y="126"/>
                  </a:cubicBezTo>
                  <a:cubicBezTo>
                    <a:pt x="108" y="91"/>
                    <a:pt x="142" y="88"/>
                    <a:pt x="182" y="102"/>
                  </a:cubicBezTo>
                  <a:cubicBezTo>
                    <a:pt x="228" y="118"/>
                    <a:pt x="266" y="159"/>
                    <a:pt x="252" y="19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0">
              <a:extLst>
                <a:ext uri="{FF2B5EF4-FFF2-40B4-BE49-F238E27FC236}">
                  <a16:creationId xmlns:a16="http://schemas.microsoft.com/office/drawing/2014/main" id="{12E4093E-E5D1-7426-7D4C-CC45B5E80732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6024563" y="3663951"/>
              <a:ext cx="176213" cy="185738"/>
            </a:xfrm>
            <a:custGeom>
              <a:avLst/>
              <a:gdLst>
                <a:gd name="T0" fmla="*/ 27 w 46"/>
                <a:gd name="T1" fmla="*/ 45 h 48"/>
                <a:gd name="T2" fmla="*/ 44 w 46"/>
                <a:gd name="T3" fmla="*/ 23 h 48"/>
                <a:gd name="T4" fmla="*/ 20 w 46"/>
                <a:gd name="T5" fmla="*/ 2 h 48"/>
                <a:gd name="T6" fmla="*/ 2 w 46"/>
                <a:gd name="T7" fmla="*/ 26 h 48"/>
                <a:gd name="T8" fmla="*/ 27 w 46"/>
                <a:gd name="T9" fmla="*/ 4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8">
                  <a:moveTo>
                    <a:pt x="27" y="45"/>
                  </a:moveTo>
                  <a:cubicBezTo>
                    <a:pt x="40" y="43"/>
                    <a:pt x="46" y="34"/>
                    <a:pt x="44" y="23"/>
                  </a:cubicBezTo>
                  <a:cubicBezTo>
                    <a:pt x="41" y="7"/>
                    <a:pt x="34" y="0"/>
                    <a:pt x="20" y="2"/>
                  </a:cubicBezTo>
                  <a:cubicBezTo>
                    <a:pt x="6" y="4"/>
                    <a:pt x="0" y="13"/>
                    <a:pt x="2" y="26"/>
                  </a:cubicBezTo>
                  <a:cubicBezTo>
                    <a:pt x="4" y="41"/>
                    <a:pt x="13" y="48"/>
                    <a:pt x="27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9CA1EA91-1DED-6F86-1F6D-196FC435FA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3392" y="2492896"/>
            <a:ext cx="9155174" cy="3646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560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176A45B-07F8-B5B5-4838-AF1C81473A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Manitz et al. | ML Pipeline for Clinical Trial Data | 25.05.2023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/>
              <a:pPr/>
              <a:t>3</a:t>
            </a:fld>
            <a:endParaRPr lang="en-US" dirty="0"/>
          </a:p>
        </p:txBody>
      </p:sp>
      <p:sp>
        <p:nvSpPr>
          <p:cNvPr id="23" name="glimpse">
            <a:extLst>
              <a:ext uri="{FF2B5EF4-FFF2-40B4-BE49-F238E27FC236}">
                <a16:creationId xmlns:a16="http://schemas.microsoft.com/office/drawing/2014/main" id="{FB819A6B-3C8F-7A6E-9DCF-7B3308A700B1}"/>
              </a:ext>
            </a:extLst>
          </p:cNvPr>
          <p:cNvSpPr>
            <a:spLocks noChangeAspect="1" noChangeArrowheads="1" noTextEdit="1"/>
          </p:cNvSpPr>
          <p:nvPr>
            <p:custDataLst>
              <p:tags r:id="rId1"/>
            </p:custDataLst>
          </p:nvPr>
        </p:nvSpPr>
        <p:spPr bwMode="auto">
          <a:xfrm>
            <a:off x="7336011" y="1711920"/>
            <a:ext cx="2870200" cy="294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5BB3F1-AF00-EB20-B572-FDD08EB53D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3952" y="808919"/>
            <a:ext cx="5904161" cy="5302811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0229DDE-6F4C-E41F-650C-C08C199C6E8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3889" y="1484313"/>
            <a:ext cx="5256087" cy="4608511"/>
          </a:xfrm>
        </p:spPr>
        <p:txBody>
          <a:bodyPr/>
          <a:lstStyle/>
          <a:p>
            <a:r>
              <a:rPr lang="en-US" altLang="en-US" sz="1800" dirty="0"/>
              <a:t>Is there a subpopulation that will particularly benefit from a novel immuno-oncology (IO) treatment in comparison to conventional chemotherapy? </a:t>
            </a:r>
          </a:p>
          <a:p>
            <a:endParaRPr lang="en-US" sz="1800" dirty="0"/>
          </a:p>
          <a:p>
            <a:r>
              <a:rPr lang="en-US" altLang="en-US" sz="1800" b="1" dirty="0">
                <a:solidFill>
                  <a:schemeClr val="accent1"/>
                </a:solidFill>
              </a:rPr>
              <a:t>Definition as ML Problem</a:t>
            </a:r>
          </a:p>
          <a:p>
            <a:r>
              <a:rPr lang="en-US" altLang="en-US" sz="1800" i="1" dirty="0"/>
              <a:t>Dependent variable: </a:t>
            </a:r>
            <a:r>
              <a:rPr lang="en-US" altLang="en-US" sz="1800" b="1" dirty="0"/>
              <a:t>Overall survival</a:t>
            </a:r>
            <a:r>
              <a:rPr lang="en-US" altLang="en-US" sz="1800" dirty="0"/>
              <a:t>, the time from treatment initiation to death from any cause; patients alive or lost to follow-up are censored. </a:t>
            </a:r>
          </a:p>
          <a:p>
            <a:r>
              <a:rPr lang="en-US" altLang="en-US" sz="1800" i="1" dirty="0"/>
              <a:t>Features</a:t>
            </a:r>
            <a:r>
              <a:rPr lang="en-US" altLang="en-US" sz="1800" dirty="0"/>
              <a:t>: </a:t>
            </a:r>
            <a:r>
              <a:rPr lang="en-US" altLang="en-US" sz="1800" b="1" dirty="0"/>
              <a:t>Treatment</a:t>
            </a:r>
            <a:r>
              <a:rPr lang="en-US" altLang="en-US" sz="1800" dirty="0"/>
              <a:t> group, patient demographics, </a:t>
            </a:r>
            <a:r>
              <a:rPr lang="en-US" altLang="en-US" sz="1800" b="1" dirty="0"/>
              <a:t>disease characteristics</a:t>
            </a:r>
            <a:r>
              <a:rPr lang="en-US" altLang="en-US" sz="1800" dirty="0"/>
              <a:t>, laboratory values, patient-reported outcomes, biomarkers, etc.</a:t>
            </a:r>
          </a:p>
        </p:txBody>
      </p:sp>
    </p:spTree>
    <p:extLst>
      <p:ext uri="{BB962C8B-B14F-4D97-AF65-F5344CB8AC3E}">
        <p14:creationId xmlns:p14="http://schemas.microsoft.com/office/powerpoint/2010/main" val="212603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1.png">
            <a:extLst>
              <a:ext uri="{FF2B5EF4-FFF2-40B4-BE49-F238E27FC236}">
                <a16:creationId xmlns:a16="http://schemas.microsoft.com/office/drawing/2014/main" id="{E50B4A2B-CE8C-675D-895B-7193CBF6874C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40"/>
          <a:stretch>
            <a:fillRect/>
          </a:stretch>
        </p:blipFill>
        <p:spPr>
          <a:xfrm>
            <a:off x="1720851" y="1380004"/>
            <a:ext cx="9663111" cy="4692184"/>
          </a:xfr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3BAE405-022D-D8F6-755D-0157567E22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8B2EED-C5DB-75AB-39DF-9EBBFF29BE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Illustration of the Machine Learning Pipelin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A02F1B-DB13-261F-3B59-C3178CB11F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nitz et al. | ML Pipeline for Clinical Trial Data | 25.05.2023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3F97F8-DFA1-025E-49A2-42D14C4280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23" name="scientist_idea_female">
            <a:extLst>
              <a:ext uri="{FF2B5EF4-FFF2-40B4-BE49-F238E27FC236}">
                <a16:creationId xmlns:a16="http://schemas.microsoft.com/office/drawing/2014/main" id="{45B6685E-71C2-2DF2-9539-D09E8741EA20}"/>
              </a:ext>
            </a:extLst>
          </p:cNvPr>
          <p:cNvSpPr>
            <a:spLocks noChangeAspect="1" noChangeArrowheads="1" noTextEdit="1"/>
          </p:cNvSpPr>
          <p:nvPr>
            <p:custDataLst>
              <p:tags r:id="rId1"/>
            </p:custDataLst>
          </p:nvPr>
        </p:nvSpPr>
        <p:spPr bwMode="auto">
          <a:xfrm>
            <a:off x="569913" y="2743200"/>
            <a:ext cx="1730375" cy="334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24" name="scientist_idea_female">
            <a:extLst>
              <a:ext uri="{FF2B5EF4-FFF2-40B4-BE49-F238E27FC236}">
                <a16:creationId xmlns:a16="http://schemas.microsoft.com/office/drawing/2014/main" id="{7684627D-CBD4-B170-F1C2-E100D2200AC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4526" y="5307013"/>
            <a:ext cx="560387" cy="671513"/>
            <a:chOff x="1104901" y="4171951"/>
            <a:chExt cx="560387" cy="671513"/>
          </a:xfrm>
        </p:grpSpPr>
        <p:sp>
          <p:nvSpPr>
            <p:cNvPr id="125" name="Freeform 8">
              <a:extLst>
                <a:ext uri="{FF2B5EF4-FFF2-40B4-BE49-F238E27FC236}">
                  <a16:creationId xmlns:a16="http://schemas.microsoft.com/office/drawing/2014/main" id="{94634F72-485E-1127-280D-DC6E5DC37084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1104901" y="4191001"/>
              <a:ext cx="214313" cy="652463"/>
            </a:xfrm>
            <a:custGeom>
              <a:avLst/>
              <a:gdLst>
                <a:gd name="T0" fmla="*/ 7 w 64"/>
                <a:gd name="T1" fmla="*/ 0 h 194"/>
                <a:gd name="T2" fmla="*/ 0 w 64"/>
                <a:gd name="T3" fmla="*/ 193 h 194"/>
                <a:gd name="T4" fmla="*/ 3 w 64"/>
                <a:gd name="T5" fmla="*/ 194 h 194"/>
                <a:gd name="T6" fmla="*/ 21 w 64"/>
                <a:gd name="T7" fmla="*/ 189 h 194"/>
                <a:gd name="T8" fmla="*/ 34 w 64"/>
                <a:gd name="T9" fmla="*/ 193 h 194"/>
                <a:gd name="T10" fmla="*/ 36 w 64"/>
                <a:gd name="T11" fmla="*/ 189 h 194"/>
                <a:gd name="T12" fmla="*/ 64 w 64"/>
                <a:gd name="T13" fmla="*/ 2 h 194"/>
                <a:gd name="T14" fmla="*/ 7 w 64"/>
                <a:gd name="T15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194">
                  <a:moveTo>
                    <a:pt x="7" y="0"/>
                  </a:moveTo>
                  <a:cubicBezTo>
                    <a:pt x="3" y="80"/>
                    <a:pt x="1" y="162"/>
                    <a:pt x="0" y="193"/>
                  </a:cubicBezTo>
                  <a:cubicBezTo>
                    <a:pt x="0" y="193"/>
                    <a:pt x="1" y="193"/>
                    <a:pt x="3" y="194"/>
                  </a:cubicBezTo>
                  <a:cubicBezTo>
                    <a:pt x="7" y="190"/>
                    <a:pt x="13" y="189"/>
                    <a:pt x="21" y="189"/>
                  </a:cubicBezTo>
                  <a:cubicBezTo>
                    <a:pt x="27" y="189"/>
                    <a:pt x="31" y="190"/>
                    <a:pt x="34" y="193"/>
                  </a:cubicBezTo>
                  <a:cubicBezTo>
                    <a:pt x="35" y="192"/>
                    <a:pt x="36" y="190"/>
                    <a:pt x="36" y="189"/>
                  </a:cubicBezTo>
                  <a:cubicBezTo>
                    <a:pt x="36" y="182"/>
                    <a:pt x="51" y="72"/>
                    <a:pt x="64" y="2"/>
                  </a:cubicBezTo>
                  <a:cubicBezTo>
                    <a:pt x="41" y="2"/>
                    <a:pt x="19" y="0"/>
                    <a:pt x="7" y="0"/>
                  </a:cubicBezTo>
                  <a:close/>
                </a:path>
              </a:pathLst>
            </a:custGeom>
            <a:solidFill>
              <a:srgbClr val="2DBE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6" name="Freeform 9">
              <a:extLst>
                <a:ext uri="{FF2B5EF4-FFF2-40B4-BE49-F238E27FC236}">
                  <a16:creationId xmlns:a16="http://schemas.microsoft.com/office/drawing/2014/main" id="{5F9C061D-AB03-6B52-B014-6F1DB0779B78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1430338" y="4171951"/>
              <a:ext cx="234950" cy="668338"/>
            </a:xfrm>
            <a:custGeom>
              <a:avLst/>
              <a:gdLst>
                <a:gd name="T0" fmla="*/ 29 w 70"/>
                <a:gd name="T1" fmla="*/ 194 h 199"/>
                <a:gd name="T2" fmla="*/ 41 w 70"/>
                <a:gd name="T3" fmla="*/ 199 h 199"/>
                <a:gd name="T4" fmla="*/ 54 w 70"/>
                <a:gd name="T5" fmla="*/ 195 h 199"/>
                <a:gd name="T6" fmla="*/ 67 w 70"/>
                <a:gd name="T7" fmla="*/ 198 h 199"/>
                <a:gd name="T8" fmla="*/ 70 w 70"/>
                <a:gd name="T9" fmla="*/ 197 h 199"/>
                <a:gd name="T10" fmla="*/ 62 w 70"/>
                <a:gd name="T11" fmla="*/ 0 h 199"/>
                <a:gd name="T12" fmla="*/ 0 w 70"/>
                <a:gd name="T13" fmla="*/ 9 h 199"/>
                <a:gd name="T14" fmla="*/ 29 w 70"/>
                <a:gd name="T15" fmla="*/ 194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99">
                  <a:moveTo>
                    <a:pt x="29" y="194"/>
                  </a:moveTo>
                  <a:cubicBezTo>
                    <a:pt x="29" y="197"/>
                    <a:pt x="34" y="198"/>
                    <a:pt x="41" y="199"/>
                  </a:cubicBezTo>
                  <a:cubicBezTo>
                    <a:pt x="43" y="196"/>
                    <a:pt x="47" y="195"/>
                    <a:pt x="54" y="195"/>
                  </a:cubicBezTo>
                  <a:cubicBezTo>
                    <a:pt x="59" y="195"/>
                    <a:pt x="64" y="196"/>
                    <a:pt x="67" y="198"/>
                  </a:cubicBezTo>
                  <a:cubicBezTo>
                    <a:pt x="69" y="197"/>
                    <a:pt x="70" y="197"/>
                    <a:pt x="70" y="197"/>
                  </a:cubicBezTo>
                  <a:cubicBezTo>
                    <a:pt x="70" y="166"/>
                    <a:pt x="66" y="81"/>
                    <a:pt x="62" y="0"/>
                  </a:cubicBezTo>
                  <a:cubicBezTo>
                    <a:pt x="55" y="6"/>
                    <a:pt x="29" y="9"/>
                    <a:pt x="0" y="9"/>
                  </a:cubicBezTo>
                  <a:cubicBezTo>
                    <a:pt x="13" y="77"/>
                    <a:pt x="29" y="187"/>
                    <a:pt x="29" y="194"/>
                  </a:cubicBezTo>
                  <a:close/>
                </a:path>
              </a:pathLst>
            </a:custGeom>
            <a:solidFill>
              <a:srgbClr val="2DBE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27" name="scientist_idea_female">
            <a:extLst>
              <a:ext uri="{FF2B5EF4-FFF2-40B4-BE49-F238E27FC236}">
                <a16:creationId xmlns:a16="http://schemas.microsoft.com/office/drawing/2014/main" id="{FFC29B6A-F9FE-6490-588F-02547F2F5FDD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23888" y="6072188"/>
            <a:ext cx="138113" cy="20638"/>
          </a:xfrm>
          <a:custGeom>
            <a:avLst/>
            <a:gdLst>
              <a:gd name="T0" fmla="*/ 0 w 41"/>
              <a:gd name="T1" fmla="*/ 4 h 6"/>
              <a:gd name="T2" fmla="*/ 0 w 41"/>
              <a:gd name="T3" fmla="*/ 0 h 6"/>
              <a:gd name="T4" fmla="*/ 0 w 41"/>
              <a:gd name="T5" fmla="*/ 4 h 6"/>
              <a:gd name="T6" fmla="*/ 0 w 41"/>
              <a:gd name="T7" fmla="*/ 6 h 6"/>
              <a:gd name="T8" fmla="*/ 41 w 41"/>
              <a:gd name="T9" fmla="*/ 6 h 6"/>
              <a:gd name="T10" fmla="*/ 41 w 41"/>
              <a:gd name="T11" fmla="*/ 6 h 6"/>
              <a:gd name="T12" fmla="*/ 0 w 41"/>
              <a:gd name="T13" fmla="*/ 6 h 6"/>
              <a:gd name="T14" fmla="*/ 0 w 41"/>
              <a:gd name="T15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" h="6">
                <a:moveTo>
                  <a:pt x="0" y="4"/>
                </a:moveTo>
                <a:cubicBezTo>
                  <a:pt x="0" y="3"/>
                  <a:pt x="0" y="1"/>
                  <a:pt x="0" y="0"/>
                </a:cubicBezTo>
                <a:cubicBezTo>
                  <a:pt x="0" y="1"/>
                  <a:pt x="0" y="3"/>
                  <a:pt x="0" y="4"/>
                </a:cubicBezTo>
                <a:cubicBezTo>
                  <a:pt x="0" y="5"/>
                  <a:pt x="0" y="6"/>
                  <a:pt x="0" y="6"/>
                </a:cubicBezTo>
                <a:cubicBezTo>
                  <a:pt x="41" y="6"/>
                  <a:pt x="41" y="6"/>
                  <a:pt x="41" y="6"/>
                </a:cubicBezTo>
                <a:cubicBezTo>
                  <a:pt x="41" y="6"/>
                  <a:pt x="41" y="6"/>
                  <a:pt x="41" y="6"/>
                </a:cubicBezTo>
                <a:cubicBezTo>
                  <a:pt x="0" y="6"/>
                  <a:pt x="0" y="6"/>
                  <a:pt x="0" y="6"/>
                </a:cubicBezTo>
                <a:cubicBezTo>
                  <a:pt x="0" y="6"/>
                  <a:pt x="0" y="5"/>
                  <a:pt x="0" y="4"/>
                </a:cubicBezTo>
                <a:close/>
              </a:path>
            </a:pathLst>
          </a:custGeom>
          <a:solidFill>
            <a:srgbClr val="96D7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8" name="scientist_idea_female">
            <a:extLst>
              <a:ext uri="{FF2B5EF4-FFF2-40B4-BE49-F238E27FC236}">
                <a16:creationId xmlns:a16="http://schemas.microsoft.com/office/drawing/2014/main" id="{0B32DCA6-28AF-563E-AE3D-3E607A94B2F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952501" y="4067175"/>
            <a:ext cx="11113" cy="0"/>
          </a:xfrm>
          <a:custGeom>
            <a:avLst/>
            <a:gdLst>
              <a:gd name="T0" fmla="*/ 3 w 3"/>
              <a:gd name="T1" fmla="*/ 0 w 3"/>
              <a:gd name="T2" fmla="*/ 0 w 3"/>
              <a:gd name="T3" fmla="*/ 3 w 3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3">
                <a:moveTo>
                  <a:pt x="3" y="0"/>
                </a:moveTo>
                <a:cubicBezTo>
                  <a:pt x="2" y="0"/>
                  <a:pt x="1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0"/>
                  <a:pt x="2" y="0"/>
                  <a:pt x="3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9" name="scientist_idea_female">
            <a:extLst>
              <a:ext uri="{FF2B5EF4-FFF2-40B4-BE49-F238E27FC236}">
                <a16:creationId xmlns:a16="http://schemas.microsoft.com/office/drawing/2014/main" id="{C9E9E181-56DB-6F50-D134-86063547BD51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020763" y="4073525"/>
            <a:ext cx="12700" cy="0"/>
          </a:xfrm>
          <a:custGeom>
            <a:avLst/>
            <a:gdLst>
              <a:gd name="T0" fmla="*/ 0 w 4"/>
              <a:gd name="T1" fmla="*/ 4 w 4"/>
              <a:gd name="T2" fmla="*/ 0 w 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4">
                <a:moveTo>
                  <a:pt x="0" y="0"/>
                </a:moveTo>
                <a:cubicBezTo>
                  <a:pt x="2" y="0"/>
                  <a:pt x="3" y="0"/>
                  <a:pt x="4" y="0"/>
                </a:cubicBezTo>
                <a:cubicBezTo>
                  <a:pt x="3" y="0"/>
                  <a:pt x="2" y="0"/>
                  <a:pt x="0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30" name="scientist_idea_female">
            <a:extLst>
              <a:ext uri="{FF2B5EF4-FFF2-40B4-BE49-F238E27FC236}">
                <a16:creationId xmlns:a16="http://schemas.microsoft.com/office/drawing/2014/main" id="{55D0D4B6-67AB-E8AD-EE52-AA9C20AC2BF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969963" y="4067175"/>
            <a:ext cx="9525" cy="0"/>
          </a:xfrm>
          <a:custGeom>
            <a:avLst/>
            <a:gdLst>
              <a:gd name="T0" fmla="*/ 0 w 3"/>
              <a:gd name="T1" fmla="*/ 3 w 3"/>
              <a:gd name="T2" fmla="*/ 0 w 3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3">
                <a:moveTo>
                  <a:pt x="0" y="0"/>
                </a:moveTo>
                <a:cubicBezTo>
                  <a:pt x="1" y="0"/>
                  <a:pt x="2" y="0"/>
                  <a:pt x="3" y="0"/>
                </a:cubicBezTo>
                <a:cubicBezTo>
                  <a:pt x="2" y="0"/>
                  <a:pt x="1" y="0"/>
                  <a:pt x="0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31" name="scientist_idea_female">
            <a:extLst>
              <a:ext uri="{FF2B5EF4-FFF2-40B4-BE49-F238E27FC236}">
                <a16:creationId xmlns:a16="http://schemas.microsoft.com/office/drawing/2014/main" id="{B1228C4F-7986-129A-26ED-3A798AEC0E7B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573088" y="4070350"/>
            <a:ext cx="665163" cy="1266825"/>
            <a:chOff x="1033463" y="2935288"/>
            <a:chExt cx="665163" cy="1266825"/>
          </a:xfrm>
        </p:grpSpPr>
        <p:sp>
          <p:nvSpPr>
            <p:cNvPr id="132" name="Freeform 16">
              <a:extLst>
                <a:ext uri="{FF2B5EF4-FFF2-40B4-BE49-F238E27FC236}">
                  <a16:creationId xmlns:a16="http://schemas.microsoft.com/office/drawing/2014/main" id="{A0D52583-809F-49F6-5E5A-1540D15543A0}"/>
                </a:ext>
              </a:extLst>
            </p:cNvPr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auto">
            <a:xfrm>
              <a:off x="1033463" y="2935288"/>
              <a:ext cx="330200" cy="1266825"/>
            </a:xfrm>
            <a:custGeom>
              <a:avLst/>
              <a:gdLst>
                <a:gd name="T0" fmla="*/ 95 w 98"/>
                <a:gd name="T1" fmla="*/ 373 h 377"/>
                <a:gd name="T2" fmla="*/ 95 w 98"/>
                <a:gd name="T3" fmla="*/ 9 h 377"/>
                <a:gd name="T4" fmla="*/ 95 w 98"/>
                <a:gd name="T5" fmla="*/ 9 h 377"/>
                <a:gd name="T6" fmla="*/ 90 w 98"/>
                <a:gd name="T7" fmla="*/ 9 h 377"/>
                <a:gd name="T8" fmla="*/ 66 w 98"/>
                <a:gd name="T9" fmla="*/ 27 h 377"/>
                <a:gd name="T10" fmla="*/ 47 w 98"/>
                <a:gd name="T11" fmla="*/ 3 h 377"/>
                <a:gd name="T12" fmla="*/ 48 w 98"/>
                <a:gd name="T13" fmla="*/ 2 h 377"/>
                <a:gd name="T14" fmla="*/ 70 w 98"/>
                <a:gd name="T15" fmla="*/ 0 h 377"/>
                <a:gd name="T16" fmla="*/ 36 w 98"/>
                <a:gd name="T17" fmla="*/ 3 h 377"/>
                <a:gd name="T18" fmla="*/ 9 w 98"/>
                <a:gd name="T19" fmla="*/ 13 h 377"/>
                <a:gd name="T20" fmla="*/ 9 w 98"/>
                <a:gd name="T21" fmla="*/ 12 h 377"/>
                <a:gd name="T22" fmla="*/ 2 w 98"/>
                <a:gd name="T23" fmla="*/ 32 h 377"/>
                <a:gd name="T24" fmla="*/ 0 w 98"/>
                <a:gd name="T25" fmla="*/ 251 h 377"/>
                <a:gd name="T26" fmla="*/ 4 w 98"/>
                <a:gd name="T27" fmla="*/ 254 h 377"/>
                <a:gd name="T28" fmla="*/ 11 w 98"/>
                <a:gd name="T29" fmla="*/ 254 h 377"/>
                <a:gd name="T30" fmla="*/ 32 w 98"/>
                <a:gd name="T31" fmla="*/ 251 h 377"/>
                <a:gd name="T32" fmla="*/ 38 w 98"/>
                <a:gd name="T33" fmla="*/ 275 h 377"/>
                <a:gd name="T34" fmla="*/ 28 w 98"/>
                <a:gd name="T35" fmla="*/ 281 h 377"/>
                <a:gd name="T36" fmla="*/ 22 w 98"/>
                <a:gd name="T37" fmla="*/ 287 h 377"/>
                <a:gd name="T38" fmla="*/ 21 w 98"/>
                <a:gd name="T39" fmla="*/ 288 h 377"/>
                <a:gd name="T40" fmla="*/ 18 w 98"/>
                <a:gd name="T41" fmla="*/ 373 h 377"/>
                <a:gd name="T42" fmla="*/ 28 w 98"/>
                <a:gd name="T43" fmla="*/ 374 h 377"/>
                <a:gd name="T44" fmla="*/ 85 w 98"/>
                <a:gd name="T45" fmla="*/ 376 h 377"/>
                <a:gd name="T46" fmla="*/ 98 w 98"/>
                <a:gd name="T47" fmla="*/ 377 h 377"/>
                <a:gd name="T48" fmla="*/ 95 w 98"/>
                <a:gd name="T49" fmla="*/ 373 h 377"/>
                <a:gd name="T50" fmla="*/ 85 w 98"/>
                <a:gd name="T51" fmla="*/ 56 h 377"/>
                <a:gd name="T52" fmla="*/ 89 w 98"/>
                <a:gd name="T53" fmla="*/ 60 h 377"/>
                <a:gd name="T54" fmla="*/ 85 w 98"/>
                <a:gd name="T55" fmla="*/ 64 h 377"/>
                <a:gd name="T56" fmla="*/ 81 w 98"/>
                <a:gd name="T57" fmla="*/ 60 h 377"/>
                <a:gd name="T58" fmla="*/ 85 w 98"/>
                <a:gd name="T59" fmla="*/ 56 h 377"/>
                <a:gd name="T60" fmla="*/ 85 w 98"/>
                <a:gd name="T61" fmla="*/ 78 h 377"/>
                <a:gd name="T62" fmla="*/ 89 w 98"/>
                <a:gd name="T63" fmla="*/ 82 h 377"/>
                <a:gd name="T64" fmla="*/ 85 w 98"/>
                <a:gd name="T65" fmla="*/ 86 h 377"/>
                <a:gd name="T66" fmla="*/ 81 w 98"/>
                <a:gd name="T67" fmla="*/ 82 h 377"/>
                <a:gd name="T68" fmla="*/ 85 w 98"/>
                <a:gd name="T69" fmla="*/ 78 h 377"/>
                <a:gd name="T70" fmla="*/ 85 w 98"/>
                <a:gd name="T71" fmla="*/ 100 h 377"/>
                <a:gd name="T72" fmla="*/ 89 w 98"/>
                <a:gd name="T73" fmla="*/ 103 h 377"/>
                <a:gd name="T74" fmla="*/ 85 w 98"/>
                <a:gd name="T75" fmla="*/ 107 h 377"/>
                <a:gd name="T76" fmla="*/ 81 w 98"/>
                <a:gd name="T77" fmla="*/ 103 h 377"/>
                <a:gd name="T78" fmla="*/ 85 w 98"/>
                <a:gd name="T79" fmla="*/ 100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8" h="377">
                  <a:moveTo>
                    <a:pt x="95" y="373"/>
                  </a:moveTo>
                  <a:cubicBezTo>
                    <a:pt x="95" y="9"/>
                    <a:pt x="95" y="9"/>
                    <a:pt x="95" y="9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5" y="2"/>
                    <a:pt x="63" y="1"/>
                    <a:pt x="70" y="0"/>
                  </a:cubicBezTo>
                  <a:cubicBezTo>
                    <a:pt x="57" y="2"/>
                    <a:pt x="41" y="3"/>
                    <a:pt x="36" y="3"/>
                  </a:cubicBezTo>
                  <a:cubicBezTo>
                    <a:pt x="27" y="3"/>
                    <a:pt x="15" y="9"/>
                    <a:pt x="9" y="1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5" y="15"/>
                    <a:pt x="1" y="13"/>
                    <a:pt x="2" y="32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0" y="253"/>
                    <a:pt x="2" y="254"/>
                    <a:pt x="4" y="254"/>
                  </a:cubicBezTo>
                  <a:cubicBezTo>
                    <a:pt x="6" y="254"/>
                    <a:pt x="9" y="254"/>
                    <a:pt x="11" y="254"/>
                  </a:cubicBezTo>
                  <a:cubicBezTo>
                    <a:pt x="32" y="251"/>
                    <a:pt x="32" y="251"/>
                    <a:pt x="32" y="251"/>
                  </a:cubicBezTo>
                  <a:cubicBezTo>
                    <a:pt x="35" y="259"/>
                    <a:pt x="39" y="269"/>
                    <a:pt x="38" y="275"/>
                  </a:cubicBezTo>
                  <a:cubicBezTo>
                    <a:pt x="36" y="282"/>
                    <a:pt x="28" y="281"/>
                    <a:pt x="28" y="281"/>
                  </a:cubicBezTo>
                  <a:cubicBezTo>
                    <a:pt x="28" y="281"/>
                    <a:pt x="28" y="286"/>
                    <a:pt x="22" y="287"/>
                  </a:cubicBezTo>
                  <a:cubicBezTo>
                    <a:pt x="22" y="288"/>
                    <a:pt x="21" y="288"/>
                    <a:pt x="21" y="288"/>
                  </a:cubicBezTo>
                  <a:cubicBezTo>
                    <a:pt x="18" y="373"/>
                    <a:pt x="18" y="373"/>
                    <a:pt x="18" y="373"/>
                  </a:cubicBezTo>
                  <a:cubicBezTo>
                    <a:pt x="18" y="373"/>
                    <a:pt x="21" y="373"/>
                    <a:pt x="28" y="374"/>
                  </a:cubicBezTo>
                  <a:cubicBezTo>
                    <a:pt x="40" y="374"/>
                    <a:pt x="62" y="376"/>
                    <a:pt x="85" y="376"/>
                  </a:cubicBezTo>
                  <a:cubicBezTo>
                    <a:pt x="89" y="377"/>
                    <a:pt x="93" y="377"/>
                    <a:pt x="98" y="377"/>
                  </a:cubicBezTo>
                  <a:cubicBezTo>
                    <a:pt x="96" y="376"/>
                    <a:pt x="95" y="375"/>
                    <a:pt x="95" y="373"/>
                  </a:cubicBezTo>
                  <a:close/>
                  <a:moveTo>
                    <a:pt x="85" y="56"/>
                  </a:moveTo>
                  <a:cubicBezTo>
                    <a:pt x="87" y="56"/>
                    <a:pt x="89" y="58"/>
                    <a:pt x="89" y="60"/>
                  </a:cubicBezTo>
                  <a:cubicBezTo>
                    <a:pt x="89" y="62"/>
                    <a:pt x="87" y="64"/>
                    <a:pt x="85" y="64"/>
                  </a:cubicBezTo>
                  <a:cubicBezTo>
                    <a:pt x="83" y="64"/>
                    <a:pt x="81" y="62"/>
                    <a:pt x="81" y="60"/>
                  </a:cubicBezTo>
                  <a:cubicBezTo>
                    <a:pt x="81" y="58"/>
                    <a:pt x="83" y="56"/>
                    <a:pt x="85" y="56"/>
                  </a:cubicBezTo>
                  <a:close/>
                  <a:moveTo>
                    <a:pt x="85" y="78"/>
                  </a:moveTo>
                  <a:cubicBezTo>
                    <a:pt x="87" y="78"/>
                    <a:pt x="89" y="80"/>
                    <a:pt x="89" y="82"/>
                  </a:cubicBezTo>
                  <a:cubicBezTo>
                    <a:pt x="89" y="84"/>
                    <a:pt x="87" y="86"/>
                    <a:pt x="85" y="86"/>
                  </a:cubicBezTo>
                  <a:cubicBezTo>
                    <a:pt x="83" y="86"/>
                    <a:pt x="81" y="84"/>
                    <a:pt x="81" y="82"/>
                  </a:cubicBezTo>
                  <a:cubicBezTo>
                    <a:pt x="81" y="80"/>
                    <a:pt x="83" y="78"/>
                    <a:pt x="85" y="78"/>
                  </a:cubicBezTo>
                  <a:close/>
                  <a:moveTo>
                    <a:pt x="85" y="100"/>
                  </a:moveTo>
                  <a:cubicBezTo>
                    <a:pt x="87" y="100"/>
                    <a:pt x="89" y="101"/>
                    <a:pt x="89" y="103"/>
                  </a:cubicBezTo>
                  <a:cubicBezTo>
                    <a:pt x="89" y="106"/>
                    <a:pt x="87" y="107"/>
                    <a:pt x="85" y="107"/>
                  </a:cubicBezTo>
                  <a:cubicBezTo>
                    <a:pt x="83" y="107"/>
                    <a:pt x="81" y="106"/>
                    <a:pt x="81" y="103"/>
                  </a:cubicBezTo>
                  <a:cubicBezTo>
                    <a:pt x="81" y="101"/>
                    <a:pt x="83" y="100"/>
                    <a:pt x="85" y="10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3" name="Freeform 19">
              <a:extLst>
                <a:ext uri="{FF2B5EF4-FFF2-40B4-BE49-F238E27FC236}">
                  <a16:creationId xmlns:a16="http://schemas.microsoft.com/office/drawing/2014/main" id="{0A914236-31D9-BE81-4CE1-0FF4D2617716}"/>
                </a:ext>
              </a:extLst>
            </p:cNvPr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auto">
            <a:xfrm>
              <a:off x="1376363" y="2941638"/>
              <a:ext cx="322263" cy="1260475"/>
            </a:xfrm>
            <a:custGeom>
              <a:avLst/>
              <a:gdLst>
                <a:gd name="T0" fmla="*/ 73 w 96"/>
                <a:gd name="T1" fmla="*/ 285 h 375"/>
                <a:gd name="T2" fmla="*/ 67 w 96"/>
                <a:gd name="T3" fmla="*/ 279 h 375"/>
                <a:gd name="T4" fmla="*/ 58 w 96"/>
                <a:gd name="T5" fmla="*/ 273 h 375"/>
                <a:gd name="T6" fmla="*/ 64 w 96"/>
                <a:gd name="T7" fmla="*/ 249 h 375"/>
                <a:gd name="T8" fmla="*/ 85 w 96"/>
                <a:gd name="T9" fmla="*/ 249 h 375"/>
                <a:gd name="T10" fmla="*/ 90 w 96"/>
                <a:gd name="T11" fmla="*/ 247 h 375"/>
                <a:gd name="T12" fmla="*/ 96 w 96"/>
                <a:gd name="T13" fmla="*/ 241 h 375"/>
                <a:gd name="T14" fmla="*/ 94 w 96"/>
                <a:gd name="T15" fmla="*/ 29 h 375"/>
                <a:gd name="T16" fmla="*/ 86 w 96"/>
                <a:gd name="T17" fmla="*/ 13 h 375"/>
                <a:gd name="T18" fmla="*/ 86 w 96"/>
                <a:gd name="T19" fmla="*/ 13 h 375"/>
                <a:gd name="T20" fmla="*/ 86 w 96"/>
                <a:gd name="T21" fmla="*/ 13 h 375"/>
                <a:gd name="T22" fmla="*/ 42 w 96"/>
                <a:gd name="T23" fmla="*/ 1 h 375"/>
                <a:gd name="T24" fmla="*/ 37 w 96"/>
                <a:gd name="T25" fmla="*/ 0 h 375"/>
                <a:gd name="T26" fmla="*/ 42 w 96"/>
                <a:gd name="T27" fmla="*/ 1 h 375"/>
                <a:gd name="T28" fmla="*/ 47 w 96"/>
                <a:gd name="T29" fmla="*/ 2 h 375"/>
                <a:gd name="T30" fmla="*/ 43 w 96"/>
                <a:gd name="T31" fmla="*/ 7 h 375"/>
                <a:gd name="T32" fmla="*/ 24 w 96"/>
                <a:gd name="T33" fmla="*/ 25 h 375"/>
                <a:gd name="T34" fmla="*/ 2 w 96"/>
                <a:gd name="T35" fmla="*/ 8 h 375"/>
                <a:gd name="T36" fmla="*/ 2 w 96"/>
                <a:gd name="T37" fmla="*/ 371 h 375"/>
                <a:gd name="T38" fmla="*/ 0 w 96"/>
                <a:gd name="T39" fmla="*/ 375 h 375"/>
                <a:gd name="T40" fmla="*/ 16 w 96"/>
                <a:gd name="T41" fmla="*/ 375 h 375"/>
                <a:gd name="T42" fmla="*/ 78 w 96"/>
                <a:gd name="T43" fmla="*/ 366 h 375"/>
                <a:gd name="T44" fmla="*/ 79 w 96"/>
                <a:gd name="T45" fmla="*/ 365 h 375"/>
                <a:gd name="T46" fmla="*/ 83 w 96"/>
                <a:gd name="T47" fmla="*/ 286 h 375"/>
                <a:gd name="T48" fmla="*/ 81 w 96"/>
                <a:gd name="T49" fmla="*/ 286 h 375"/>
                <a:gd name="T50" fmla="*/ 73 w 96"/>
                <a:gd name="T51" fmla="*/ 285 h 375"/>
                <a:gd name="T52" fmla="*/ 19 w 96"/>
                <a:gd name="T53" fmla="*/ 64 h 375"/>
                <a:gd name="T54" fmla="*/ 47 w 96"/>
                <a:gd name="T55" fmla="*/ 64 h 375"/>
                <a:gd name="T56" fmla="*/ 47 w 96"/>
                <a:gd name="T57" fmla="*/ 73 h 375"/>
                <a:gd name="T58" fmla="*/ 19 w 96"/>
                <a:gd name="T59" fmla="*/ 73 h 375"/>
                <a:gd name="T60" fmla="*/ 19 w 96"/>
                <a:gd name="T61" fmla="*/ 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" h="375">
                  <a:moveTo>
                    <a:pt x="73" y="285"/>
                  </a:moveTo>
                  <a:cubicBezTo>
                    <a:pt x="68" y="284"/>
                    <a:pt x="67" y="279"/>
                    <a:pt x="67" y="279"/>
                  </a:cubicBezTo>
                  <a:cubicBezTo>
                    <a:pt x="67" y="279"/>
                    <a:pt x="59" y="280"/>
                    <a:pt x="58" y="273"/>
                  </a:cubicBezTo>
                  <a:cubicBezTo>
                    <a:pt x="56" y="267"/>
                    <a:pt x="61" y="256"/>
                    <a:pt x="64" y="249"/>
                  </a:cubicBezTo>
                  <a:cubicBezTo>
                    <a:pt x="85" y="249"/>
                    <a:pt x="85" y="249"/>
                    <a:pt x="85" y="249"/>
                  </a:cubicBezTo>
                  <a:cubicBezTo>
                    <a:pt x="86" y="249"/>
                    <a:pt x="88" y="248"/>
                    <a:pt x="90" y="247"/>
                  </a:cubicBezTo>
                  <a:cubicBezTo>
                    <a:pt x="93" y="245"/>
                    <a:pt x="96" y="243"/>
                    <a:pt x="96" y="241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4" y="15"/>
                    <a:pt x="88" y="15"/>
                    <a:pt x="86" y="13"/>
                  </a:cubicBezTo>
                  <a:cubicBezTo>
                    <a:pt x="86" y="13"/>
                    <a:pt x="86" y="13"/>
                    <a:pt x="86" y="13"/>
                  </a:cubicBezTo>
                  <a:cubicBezTo>
                    <a:pt x="86" y="13"/>
                    <a:pt x="86" y="13"/>
                    <a:pt x="86" y="13"/>
                  </a:cubicBezTo>
                  <a:cubicBezTo>
                    <a:pt x="86" y="13"/>
                    <a:pt x="67" y="7"/>
                    <a:pt x="42" y="1"/>
                  </a:cubicBezTo>
                  <a:cubicBezTo>
                    <a:pt x="40" y="0"/>
                    <a:pt x="38" y="0"/>
                    <a:pt x="37" y="0"/>
                  </a:cubicBezTo>
                  <a:cubicBezTo>
                    <a:pt x="38" y="0"/>
                    <a:pt x="40" y="0"/>
                    <a:pt x="42" y="1"/>
                  </a:cubicBezTo>
                  <a:cubicBezTo>
                    <a:pt x="44" y="1"/>
                    <a:pt x="45" y="2"/>
                    <a:pt x="47" y="2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371"/>
                    <a:pt x="2" y="371"/>
                    <a:pt x="2" y="371"/>
                  </a:cubicBezTo>
                  <a:cubicBezTo>
                    <a:pt x="2" y="373"/>
                    <a:pt x="2" y="374"/>
                    <a:pt x="0" y="375"/>
                  </a:cubicBezTo>
                  <a:cubicBezTo>
                    <a:pt x="6" y="375"/>
                    <a:pt x="11" y="375"/>
                    <a:pt x="16" y="375"/>
                  </a:cubicBezTo>
                  <a:cubicBezTo>
                    <a:pt x="45" y="375"/>
                    <a:pt x="71" y="372"/>
                    <a:pt x="78" y="366"/>
                  </a:cubicBezTo>
                  <a:cubicBezTo>
                    <a:pt x="78" y="366"/>
                    <a:pt x="79" y="365"/>
                    <a:pt x="79" y="365"/>
                  </a:cubicBezTo>
                  <a:cubicBezTo>
                    <a:pt x="85" y="356"/>
                    <a:pt x="86" y="324"/>
                    <a:pt x="83" y="286"/>
                  </a:cubicBezTo>
                  <a:cubicBezTo>
                    <a:pt x="82" y="286"/>
                    <a:pt x="81" y="286"/>
                    <a:pt x="81" y="286"/>
                  </a:cubicBezTo>
                  <a:cubicBezTo>
                    <a:pt x="79" y="286"/>
                    <a:pt x="79" y="287"/>
                    <a:pt x="73" y="285"/>
                  </a:cubicBezTo>
                  <a:close/>
                  <a:moveTo>
                    <a:pt x="19" y="64"/>
                  </a:moveTo>
                  <a:cubicBezTo>
                    <a:pt x="47" y="64"/>
                    <a:pt x="47" y="64"/>
                    <a:pt x="47" y="64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19" y="73"/>
                    <a:pt x="19" y="73"/>
                    <a:pt x="19" y="73"/>
                  </a:cubicBezTo>
                  <a:lnTo>
                    <a:pt x="19" y="64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34" name="scientist_idea_female">
            <a:extLst>
              <a:ext uri="{FF2B5EF4-FFF2-40B4-BE49-F238E27FC236}">
                <a16:creationId xmlns:a16="http://schemas.microsoft.com/office/drawing/2014/main" id="{886F0140-8A18-5D1F-70C6-043BF361339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985838" y="4070350"/>
            <a:ext cx="11113" cy="0"/>
          </a:xfrm>
          <a:custGeom>
            <a:avLst/>
            <a:gdLst>
              <a:gd name="T0" fmla="*/ 0 w 3"/>
              <a:gd name="T1" fmla="*/ 3 w 3"/>
              <a:gd name="T2" fmla="*/ 0 w 3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3">
                <a:moveTo>
                  <a:pt x="0" y="0"/>
                </a:moveTo>
                <a:cubicBezTo>
                  <a:pt x="1" y="0"/>
                  <a:pt x="2" y="0"/>
                  <a:pt x="3" y="0"/>
                </a:cubicBezTo>
                <a:cubicBezTo>
                  <a:pt x="2" y="0"/>
                  <a:pt x="1" y="0"/>
                  <a:pt x="0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35" name="scientist_idea_female">
            <a:extLst>
              <a:ext uri="{FF2B5EF4-FFF2-40B4-BE49-F238E27FC236}">
                <a16:creationId xmlns:a16="http://schemas.microsoft.com/office/drawing/2014/main" id="{2814850D-A327-6119-69AF-B7B95573731E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1003301" y="4070350"/>
            <a:ext cx="9525" cy="0"/>
          </a:xfrm>
          <a:custGeom>
            <a:avLst/>
            <a:gdLst>
              <a:gd name="T0" fmla="*/ 0 w 3"/>
              <a:gd name="T1" fmla="*/ 3 w 3"/>
              <a:gd name="T2" fmla="*/ 0 w 3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3">
                <a:moveTo>
                  <a:pt x="0" y="0"/>
                </a:moveTo>
                <a:cubicBezTo>
                  <a:pt x="1" y="0"/>
                  <a:pt x="2" y="0"/>
                  <a:pt x="3" y="0"/>
                </a:cubicBezTo>
                <a:cubicBezTo>
                  <a:pt x="2" y="0"/>
                  <a:pt x="1" y="0"/>
                  <a:pt x="0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36" name="scientist_idea_female">
            <a:extLst>
              <a:ext uri="{FF2B5EF4-FFF2-40B4-BE49-F238E27FC236}">
                <a16:creationId xmlns:a16="http://schemas.microsoft.com/office/drawing/2014/main" id="{D536CEE8-DBC8-F599-B1B6-4139FA69D649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617538" y="3455988"/>
            <a:ext cx="581025" cy="577850"/>
          </a:xfrm>
          <a:custGeom>
            <a:avLst/>
            <a:gdLst>
              <a:gd name="T0" fmla="*/ 49 w 173"/>
              <a:gd name="T1" fmla="*/ 167 h 172"/>
              <a:gd name="T2" fmla="*/ 38 w 173"/>
              <a:gd name="T3" fmla="*/ 140 h 172"/>
              <a:gd name="T4" fmla="*/ 17 w 173"/>
              <a:gd name="T5" fmla="*/ 109 h 172"/>
              <a:gd name="T6" fmla="*/ 40 w 173"/>
              <a:gd name="T7" fmla="*/ 85 h 172"/>
              <a:gd name="T8" fmla="*/ 83 w 173"/>
              <a:gd name="T9" fmla="*/ 85 h 172"/>
              <a:gd name="T10" fmla="*/ 124 w 173"/>
              <a:gd name="T11" fmla="*/ 57 h 172"/>
              <a:gd name="T12" fmla="*/ 129 w 173"/>
              <a:gd name="T13" fmla="*/ 58 h 172"/>
              <a:gd name="T14" fmla="*/ 136 w 173"/>
              <a:gd name="T15" fmla="*/ 86 h 172"/>
              <a:gd name="T16" fmla="*/ 148 w 173"/>
              <a:gd name="T17" fmla="*/ 109 h 172"/>
              <a:gd name="T18" fmla="*/ 133 w 173"/>
              <a:gd name="T19" fmla="*/ 137 h 172"/>
              <a:gd name="T20" fmla="*/ 131 w 173"/>
              <a:gd name="T21" fmla="*/ 146 h 172"/>
              <a:gd name="T22" fmla="*/ 116 w 173"/>
              <a:gd name="T23" fmla="*/ 171 h 172"/>
              <a:gd name="T24" fmla="*/ 115 w 173"/>
              <a:gd name="T25" fmla="*/ 171 h 172"/>
              <a:gd name="T26" fmla="*/ 116 w 173"/>
              <a:gd name="T27" fmla="*/ 172 h 172"/>
              <a:gd name="T28" fmla="*/ 143 w 173"/>
              <a:gd name="T29" fmla="*/ 167 h 172"/>
              <a:gd name="T30" fmla="*/ 149 w 173"/>
              <a:gd name="T31" fmla="*/ 161 h 172"/>
              <a:gd name="T32" fmla="*/ 159 w 173"/>
              <a:gd name="T33" fmla="*/ 130 h 172"/>
              <a:gd name="T34" fmla="*/ 159 w 173"/>
              <a:gd name="T35" fmla="*/ 113 h 172"/>
              <a:gd name="T36" fmla="*/ 170 w 173"/>
              <a:gd name="T37" fmla="*/ 123 h 172"/>
              <a:gd name="T38" fmla="*/ 172 w 173"/>
              <a:gd name="T39" fmla="*/ 104 h 172"/>
              <a:gd name="T40" fmla="*/ 154 w 173"/>
              <a:gd name="T41" fmla="*/ 44 h 172"/>
              <a:gd name="T42" fmla="*/ 134 w 173"/>
              <a:gd name="T43" fmla="*/ 31 h 172"/>
              <a:gd name="T44" fmla="*/ 131 w 173"/>
              <a:gd name="T45" fmla="*/ 27 h 172"/>
              <a:gd name="T46" fmla="*/ 117 w 173"/>
              <a:gd name="T47" fmla="*/ 12 h 172"/>
              <a:gd name="T48" fmla="*/ 42 w 173"/>
              <a:gd name="T49" fmla="*/ 14 h 172"/>
              <a:gd name="T50" fmla="*/ 4 w 173"/>
              <a:gd name="T51" fmla="*/ 85 h 172"/>
              <a:gd name="T52" fmla="*/ 5 w 173"/>
              <a:gd name="T53" fmla="*/ 133 h 172"/>
              <a:gd name="T54" fmla="*/ 2 w 173"/>
              <a:gd name="T55" fmla="*/ 149 h 172"/>
              <a:gd name="T56" fmla="*/ 14 w 173"/>
              <a:gd name="T57" fmla="*/ 144 h 172"/>
              <a:gd name="T58" fmla="*/ 18 w 173"/>
              <a:gd name="T59" fmla="*/ 142 h 172"/>
              <a:gd name="T60" fmla="*/ 18 w 173"/>
              <a:gd name="T61" fmla="*/ 147 h 172"/>
              <a:gd name="T62" fmla="*/ 16 w 173"/>
              <a:gd name="T63" fmla="*/ 155 h 172"/>
              <a:gd name="T64" fmla="*/ 19 w 173"/>
              <a:gd name="T65" fmla="*/ 160 h 172"/>
              <a:gd name="T66" fmla="*/ 45 w 173"/>
              <a:gd name="T67" fmla="*/ 168 h 172"/>
              <a:gd name="T68" fmla="*/ 50 w 173"/>
              <a:gd name="T69" fmla="*/ 168 h 172"/>
              <a:gd name="T70" fmla="*/ 50 w 173"/>
              <a:gd name="T71" fmla="*/ 168 h 172"/>
              <a:gd name="T72" fmla="*/ 49 w 173"/>
              <a:gd name="T73" fmla="*/ 167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73" h="172">
                <a:moveTo>
                  <a:pt x="49" y="167"/>
                </a:moveTo>
                <a:cubicBezTo>
                  <a:pt x="42" y="160"/>
                  <a:pt x="39" y="150"/>
                  <a:pt x="38" y="140"/>
                </a:cubicBezTo>
                <a:cubicBezTo>
                  <a:pt x="26" y="135"/>
                  <a:pt x="17" y="123"/>
                  <a:pt x="17" y="109"/>
                </a:cubicBezTo>
                <a:cubicBezTo>
                  <a:pt x="17" y="96"/>
                  <a:pt x="7" y="84"/>
                  <a:pt x="40" y="85"/>
                </a:cubicBezTo>
                <a:cubicBezTo>
                  <a:pt x="83" y="85"/>
                  <a:pt x="83" y="85"/>
                  <a:pt x="83" y="85"/>
                </a:cubicBezTo>
                <a:cubicBezTo>
                  <a:pt x="98" y="79"/>
                  <a:pt x="112" y="70"/>
                  <a:pt x="124" y="57"/>
                </a:cubicBezTo>
                <a:cubicBezTo>
                  <a:pt x="127" y="53"/>
                  <a:pt x="128" y="55"/>
                  <a:pt x="129" y="58"/>
                </a:cubicBezTo>
                <a:cubicBezTo>
                  <a:pt x="133" y="67"/>
                  <a:pt x="135" y="77"/>
                  <a:pt x="136" y="86"/>
                </a:cubicBezTo>
                <a:cubicBezTo>
                  <a:pt x="155" y="89"/>
                  <a:pt x="148" y="98"/>
                  <a:pt x="148" y="109"/>
                </a:cubicBezTo>
                <a:cubicBezTo>
                  <a:pt x="148" y="120"/>
                  <a:pt x="142" y="130"/>
                  <a:pt x="133" y="137"/>
                </a:cubicBezTo>
                <a:cubicBezTo>
                  <a:pt x="132" y="140"/>
                  <a:pt x="132" y="143"/>
                  <a:pt x="131" y="146"/>
                </a:cubicBezTo>
                <a:cubicBezTo>
                  <a:pt x="128" y="155"/>
                  <a:pt x="123" y="164"/>
                  <a:pt x="116" y="171"/>
                </a:cubicBezTo>
                <a:cubicBezTo>
                  <a:pt x="115" y="171"/>
                  <a:pt x="115" y="171"/>
                  <a:pt x="115" y="171"/>
                </a:cubicBezTo>
                <a:cubicBezTo>
                  <a:pt x="115" y="171"/>
                  <a:pt x="115" y="172"/>
                  <a:pt x="116" y="172"/>
                </a:cubicBezTo>
                <a:cubicBezTo>
                  <a:pt x="125" y="171"/>
                  <a:pt x="134" y="170"/>
                  <a:pt x="143" y="167"/>
                </a:cubicBezTo>
                <a:cubicBezTo>
                  <a:pt x="146" y="166"/>
                  <a:pt x="148" y="164"/>
                  <a:pt x="149" y="161"/>
                </a:cubicBezTo>
                <a:cubicBezTo>
                  <a:pt x="155" y="152"/>
                  <a:pt x="158" y="141"/>
                  <a:pt x="159" y="130"/>
                </a:cubicBezTo>
                <a:cubicBezTo>
                  <a:pt x="159" y="124"/>
                  <a:pt x="160" y="118"/>
                  <a:pt x="159" y="113"/>
                </a:cubicBezTo>
                <a:cubicBezTo>
                  <a:pt x="165" y="114"/>
                  <a:pt x="167" y="120"/>
                  <a:pt x="170" y="123"/>
                </a:cubicBezTo>
                <a:cubicBezTo>
                  <a:pt x="173" y="116"/>
                  <a:pt x="172" y="110"/>
                  <a:pt x="172" y="104"/>
                </a:cubicBezTo>
                <a:cubicBezTo>
                  <a:pt x="171" y="83"/>
                  <a:pt x="167" y="62"/>
                  <a:pt x="154" y="44"/>
                </a:cubicBezTo>
                <a:cubicBezTo>
                  <a:pt x="149" y="37"/>
                  <a:pt x="143" y="32"/>
                  <a:pt x="134" y="31"/>
                </a:cubicBezTo>
                <a:cubicBezTo>
                  <a:pt x="132" y="30"/>
                  <a:pt x="132" y="29"/>
                  <a:pt x="131" y="27"/>
                </a:cubicBezTo>
                <a:cubicBezTo>
                  <a:pt x="129" y="20"/>
                  <a:pt x="123" y="16"/>
                  <a:pt x="117" y="12"/>
                </a:cubicBezTo>
                <a:cubicBezTo>
                  <a:pt x="92" y="0"/>
                  <a:pt x="66" y="1"/>
                  <a:pt x="42" y="14"/>
                </a:cubicBezTo>
                <a:cubicBezTo>
                  <a:pt x="13" y="29"/>
                  <a:pt x="0" y="53"/>
                  <a:pt x="4" y="85"/>
                </a:cubicBezTo>
                <a:cubicBezTo>
                  <a:pt x="6" y="101"/>
                  <a:pt x="7" y="117"/>
                  <a:pt x="5" y="133"/>
                </a:cubicBezTo>
                <a:cubicBezTo>
                  <a:pt x="5" y="138"/>
                  <a:pt x="3" y="144"/>
                  <a:pt x="2" y="149"/>
                </a:cubicBezTo>
                <a:cubicBezTo>
                  <a:pt x="7" y="148"/>
                  <a:pt x="10" y="146"/>
                  <a:pt x="14" y="144"/>
                </a:cubicBezTo>
                <a:cubicBezTo>
                  <a:pt x="15" y="143"/>
                  <a:pt x="16" y="141"/>
                  <a:pt x="18" y="142"/>
                </a:cubicBezTo>
                <a:cubicBezTo>
                  <a:pt x="19" y="143"/>
                  <a:pt x="19" y="145"/>
                  <a:pt x="18" y="147"/>
                </a:cubicBezTo>
                <a:cubicBezTo>
                  <a:pt x="18" y="150"/>
                  <a:pt x="17" y="153"/>
                  <a:pt x="16" y="155"/>
                </a:cubicBezTo>
                <a:cubicBezTo>
                  <a:pt x="15" y="158"/>
                  <a:pt x="16" y="159"/>
                  <a:pt x="19" y="160"/>
                </a:cubicBezTo>
                <a:cubicBezTo>
                  <a:pt x="27" y="164"/>
                  <a:pt x="36" y="167"/>
                  <a:pt x="45" y="168"/>
                </a:cubicBezTo>
                <a:cubicBezTo>
                  <a:pt x="46" y="169"/>
                  <a:pt x="48" y="170"/>
                  <a:pt x="50" y="168"/>
                </a:cubicBezTo>
                <a:cubicBezTo>
                  <a:pt x="50" y="168"/>
                  <a:pt x="50" y="168"/>
                  <a:pt x="50" y="168"/>
                </a:cubicBezTo>
                <a:cubicBezTo>
                  <a:pt x="50" y="168"/>
                  <a:pt x="49" y="167"/>
                  <a:pt x="49" y="167"/>
                </a:cubicBezTo>
                <a:close/>
              </a:path>
            </a:pathLst>
          </a:custGeom>
          <a:solidFill>
            <a:srgbClr val="FFC8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37" name="scientist_idea_female">
            <a:extLst>
              <a:ext uri="{FF2B5EF4-FFF2-40B4-BE49-F238E27FC236}">
                <a16:creationId xmlns:a16="http://schemas.microsoft.com/office/drawing/2014/main" id="{0BE0E4F3-2384-D2C7-66DB-5375F616F333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566738" y="3633788"/>
            <a:ext cx="674688" cy="1408113"/>
            <a:chOff x="1027113" y="2498726"/>
            <a:chExt cx="674688" cy="1408113"/>
          </a:xfrm>
        </p:grpSpPr>
        <p:sp>
          <p:nvSpPr>
            <p:cNvPr id="138" name="Freeform 27">
              <a:extLst>
                <a:ext uri="{FF2B5EF4-FFF2-40B4-BE49-F238E27FC236}">
                  <a16:creationId xmlns:a16="http://schemas.microsoft.com/office/drawing/2014/main" id="{78675191-D63F-3FD9-F4A4-B214648AF482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1565276" y="3771901"/>
              <a:ext cx="136525" cy="134938"/>
            </a:xfrm>
            <a:custGeom>
              <a:avLst/>
              <a:gdLst>
                <a:gd name="T0" fmla="*/ 29 w 41"/>
                <a:gd name="T1" fmla="*/ 2 h 40"/>
                <a:gd name="T2" fmla="*/ 8 w 41"/>
                <a:gd name="T3" fmla="*/ 2 h 40"/>
                <a:gd name="T4" fmla="*/ 2 w 41"/>
                <a:gd name="T5" fmla="*/ 26 h 40"/>
                <a:gd name="T6" fmla="*/ 11 w 41"/>
                <a:gd name="T7" fmla="*/ 32 h 40"/>
                <a:gd name="T8" fmla="*/ 17 w 41"/>
                <a:gd name="T9" fmla="*/ 38 h 40"/>
                <a:gd name="T10" fmla="*/ 25 w 41"/>
                <a:gd name="T11" fmla="*/ 39 h 40"/>
                <a:gd name="T12" fmla="*/ 27 w 41"/>
                <a:gd name="T13" fmla="*/ 39 h 40"/>
                <a:gd name="T14" fmla="*/ 32 w 41"/>
                <a:gd name="T15" fmla="*/ 39 h 40"/>
                <a:gd name="T16" fmla="*/ 36 w 41"/>
                <a:gd name="T17" fmla="*/ 37 h 40"/>
                <a:gd name="T18" fmla="*/ 41 w 41"/>
                <a:gd name="T19" fmla="*/ 33 h 40"/>
                <a:gd name="T20" fmla="*/ 34 w 41"/>
                <a:gd name="T21" fmla="*/ 0 h 40"/>
                <a:gd name="T22" fmla="*/ 29 w 41"/>
                <a:gd name="T23" fmla="*/ 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0">
                  <a:moveTo>
                    <a:pt x="29" y="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5" y="9"/>
                    <a:pt x="0" y="20"/>
                    <a:pt x="2" y="26"/>
                  </a:cubicBezTo>
                  <a:cubicBezTo>
                    <a:pt x="3" y="33"/>
                    <a:pt x="11" y="32"/>
                    <a:pt x="11" y="32"/>
                  </a:cubicBezTo>
                  <a:cubicBezTo>
                    <a:pt x="11" y="32"/>
                    <a:pt x="12" y="37"/>
                    <a:pt x="17" y="38"/>
                  </a:cubicBezTo>
                  <a:cubicBezTo>
                    <a:pt x="23" y="40"/>
                    <a:pt x="23" y="39"/>
                    <a:pt x="25" y="39"/>
                  </a:cubicBezTo>
                  <a:cubicBezTo>
                    <a:pt x="25" y="39"/>
                    <a:pt x="26" y="39"/>
                    <a:pt x="27" y="39"/>
                  </a:cubicBezTo>
                  <a:cubicBezTo>
                    <a:pt x="29" y="40"/>
                    <a:pt x="31" y="40"/>
                    <a:pt x="32" y="39"/>
                  </a:cubicBezTo>
                  <a:cubicBezTo>
                    <a:pt x="34" y="37"/>
                    <a:pt x="35" y="37"/>
                    <a:pt x="36" y="37"/>
                  </a:cubicBezTo>
                  <a:cubicBezTo>
                    <a:pt x="38" y="36"/>
                    <a:pt x="40" y="35"/>
                    <a:pt x="41" y="33"/>
                  </a:cubicBezTo>
                  <a:cubicBezTo>
                    <a:pt x="41" y="31"/>
                    <a:pt x="39" y="11"/>
                    <a:pt x="34" y="0"/>
                  </a:cubicBezTo>
                  <a:cubicBezTo>
                    <a:pt x="32" y="1"/>
                    <a:pt x="30" y="2"/>
                    <a:pt x="29" y="2"/>
                  </a:cubicBezTo>
                  <a:close/>
                </a:path>
              </a:pathLst>
            </a:custGeom>
            <a:solidFill>
              <a:srgbClr val="F4E7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9" name="Freeform 28">
              <a:extLst>
                <a:ext uri="{FF2B5EF4-FFF2-40B4-BE49-F238E27FC236}">
                  <a16:creationId xmlns:a16="http://schemas.microsoft.com/office/drawing/2014/main" id="{7521D039-1BEB-3C85-6125-E36BF3F8D1F5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1027113" y="3778251"/>
              <a:ext cx="138113" cy="128588"/>
            </a:xfrm>
            <a:custGeom>
              <a:avLst/>
              <a:gdLst>
                <a:gd name="T0" fmla="*/ 24 w 41"/>
                <a:gd name="T1" fmla="*/ 36 h 38"/>
                <a:gd name="T2" fmla="*/ 30 w 41"/>
                <a:gd name="T3" fmla="*/ 30 h 38"/>
                <a:gd name="T4" fmla="*/ 40 w 41"/>
                <a:gd name="T5" fmla="*/ 24 h 38"/>
                <a:gd name="T6" fmla="*/ 34 w 41"/>
                <a:gd name="T7" fmla="*/ 0 h 38"/>
                <a:gd name="T8" fmla="*/ 13 w 41"/>
                <a:gd name="T9" fmla="*/ 3 h 38"/>
                <a:gd name="T10" fmla="*/ 6 w 41"/>
                <a:gd name="T11" fmla="*/ 3 h 38"/>
                <a:gd name="T12" fmla="*/ 1 w 41"/>
                <a:gd name="T13" fmla="*/ 31 h 38"/>
                <a:gd name="T14" fmla="*/ 5 w 41"/>
                <a:gd name="T15" fmla="*/ 35 h 38"/>
                <a:gd name="T16" fmla="*/ 10 w 41"/>
                <a:gd name="T17" fmla="*/ 37 h 38"/>
                <a:gd name="T18" fmla="*/ 17 w 41"/>
                <a:gd name="T19" fmla="*/ 37 h 38"/>
                <a:gd name="T20" fmla="*/ 23 w 41"/>
                <a:gd name="T21" fmla="*/ 37 h 38"/>
                <a:gd name="T22" fmla="*/ 24 w 41"/>
                <a:gd name="T23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38">
                  <a:moveTo>
                    <a:pt x="24" y="36"/>
                  </a:moveTo>
                  <a:cubicBezTo>
                    <a:pt x="30" y="35"/>
                    <a:pt x="30" y="30"/>
                    <a:pt x="30" y="30"/>
                  </a:cubicBezTo>
                  <a:cubicBezTo>
                    <a:pt x="30" y="30"/>
                    <a:pt x="38" y="31"/>
                    <a:pt x="40" y="24"/>
                  </a:cubicBezTo>
                  <a:cubicBezTo>
                    <a:pt x="41" y="18"/>
                    <a:pt x="37" y="8"/>
                    <a:pt x="34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1" y="3"/>
                    <a:pt x="8" y="3"/>
                    <a:pt x="6" y="3"/>
                  </a:cubicBezTo>
                  <a:cubicBezTo>
                    <a:pt x="2" y="14"/>
                    <a:pt x="0" y="29"/>
                    <a:pt x="1" y="31"/>
                  </a:cubicBezTo>
                  <a:cubicBezTo>
                    <a:pt x="2" y="33"/>
                    <a:pt x="4" y="34"/>
                    <a:pt x="5" y="35"/>
                  </a:cubicBezTo>
                  <a:cubicBezTo>
                    <a:pt x="7" y="35"/>
                    <a:pt x="7" y="35"/>
                    <a:pt x="10" y="37"/>
                  </a:cubicBezTo>
                  <a:cubicBezTo>
                    <a:pt x="12" y="38"/>
                    <a:pt x="15" y="37"/>
                    <a:pt x="17" y="37"/>
                  </a:cubicBezTo>
                  <a:cubicBezTo>
                    <a:pt x="18" y="37"/>
                    <a:pt x="18" y="38"/>
                    <a:pt x="23" y="37"/>
                  </a:cubicBezTo>
                  <a:cubicBezTo>
                    <a:pt x="23" y="37"/>
                    <a:pt x="24" y="37"/>
                    <a:pt x="24" y="36"/>
                  </a:cubicBezTo>
                  <a:close/>
                </a:path>
              </a:pathLst>
            </a:custGeom>
            <a:solidFill>
              <a:srgbClr val="F4E7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E1AE87D2-A9A4-3C3C-800F-048B9C52C2AA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1355726" y="2498726"/>
              <a:ext cx="179388" cy="111125"/>
            </a:xfrm>
            <a:custGeom>
              <a:avLst/>
              <a:gdLst>
                <a:gd name="T0" fmla="*/ 41 w 53"/>
                <a:gd name="T1" fmla="*/ 32 h 33"/>
                <a:gd name="T2" fmla="*/ 53 w 53"/>
                <a:gd name="T3" fmla="*/ 33 h 33"/>
                <a:gd name="T4" fmla="*/ 46 w 53"/>
                <a:gd name="T5" fmla="*/ 5 h 33"/>
                <a:gd name="T6" fmla="*/ 41 w 53"/>
                <a:gd name="T7" fmla="*/ 4 h 33"/>
                <a:gd name="T8" fmla="*/ 0 w 53"/>
                <a:gd name="T9" fmla="*/ 32 h 33"/>
                <a:gd name="T10" fmla="*/ 41 w 53"/>
                <a:gd name="T11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33">
                  <a:moveTo>
                    <a:pt x="41" y="32"/>
                  </a:moveTo>
                  <a:cubicBezTo>
                    <a:pt x="46" y="32"/>
                    <a:pt x="50" y="33"/>
                    <a:pt x="53" y="33"/>
                  </a:cubicBezTo>
                  <a:cubicBezTo>
                    <a:pt x="52" y="24"/>
                    <a:pt x="50" y="14"/>
                    <a:pt x="46" y="5"/>
                  </a:cubicBezTo>
                  <a:cubicBezTo>
                    <a:pt x="45" y="2"/>
                    <a:pt x="44" y="0"/>
                    <a:pt x="41" y="4"/>
                  </a:cubicBezTo>
                  <a:cubicBezTo>
                    <a:pt x="29" y="17"/>
                    <a:pt x="15" y="26"/>
                    <a:pt x="0" y="32"/>
                  </a:cubicBezTo>
                  <a:lnTo>
                    <a:pt x="41" y="32"/>
                  </a:lnTo>
                  <a:close/>
                </a:path>
              </a:pathLst>
            </a:custGeom>
            <a:solidFill>
              <a:srgbClr val="F4E7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073D65EB-3255-44A0-7D6E-3AC42D63E2B5}"/>
                </a:ext>
              </a:extLst>
            </p:cNvPr>
            <p:cNvSpPr>
              <a:spLocks noEditPoints="1"/>
            </p:cNvSpPr>
            <p:nvPr>
              <p:custDataLst>
                <p:tags r:id="rId34"/>
              </p:custDataLst>
            </p:nvPr>
          </p:nvSpPr>
          <p:spPr bwMode="auto">
            <a:xfrm>
              <a:off x="1204913" y="2733676"/>
              <a:ext cx="319088" cy="219075"/>
            </a:xfrm>
            <a:custGeom>
              <a:avLst/>
              <a:gdLst>
                <a:gd name="T0" fmla="*/ 34 w 95"/>
                <a:gd name="T1" fmla="*/ 61 h 65"/>
                <a:gd name="T2" fmla="*/ 62 w 95"/>
                <a:gd name="T3" fmla="*/ 59 h 65"/>
                <a:gd name="T4" fmla="*/ 62 w 95"/>
                <a:gd name="T5" fmla="*/ 59 h 65"/>
                <a:gd name="T6" fmla="*/ 77 w 95"/>
                <a:gd name="T7" fmla="*/ 48 h 65"/>
                <a:gd name="T8" fmla="*/ 78 w 95"/>
                <a:gd name="T9" fmla="*/ 48 h 65"/>
                <a:gd name="T10" fmla="*/ 93 w 95"/>
                <a:gd name="T11" fmla="*/ 23 h 65"/>
                <a:gd name="T12" fmla="*/ 95 w 95"/>
                <a:gd name="T13" fmla="*/ 14 h 65"/>
                <a:gd name="T14" fmla="*/ 75 w 95"/>
                <a:gd name="T15" fmla="*/ 20 h 65"/>
                <a:gd name="T16" fmla="*/ 75 w 95"/>
                <a:gd name="T17" fmla="*/ 20 h 65"/>
                <a:gd name="T18" fmla="*/ 44 w 95"/>
                <a:gd name="T19" fmla="*/ 0 h 65"/>
                <a:gd name="T20" fmla="*/ 13 w 95"/>
                <a:gd name="T21" fmla="*/ 20 h 65"/>
                <a:gd name="T22" fmla="*/ 0 w 95"/>
                <a:gd name="T23" fmla="*/ 17 h 65"/>
                <a:gd name="T24" fmla="*/ 11 w 95"/>
                <a:gd name="T25" fmla="*/ 44 h 65"/>
                <a:gd name="T26" fmla="*/ 12 w 95"/>
                <a:gd name="T27" fmla="*/ 45 h 65"/>
                <a:gd name="T28" fmla="*/ 28 w 95"/>
                <a:gd name="T29" fmla="*/ 58 h 65"/>
                <a:gd name="T30" fmla="*/ 30 w 95"/>
                <a:gd name="T31" fmla="*/ 60 h 65"/>
                <a:gd name="T32" fmla="*/ 34 w 95"/>
                <a:gd name="T33" fmla="*/ 61 h 65"/>
                <a:gd name="T34" fmla="*/ 30 w 95"/>
                <a:gd name="T35" fmla="*/ 32 h 65"/>
                <a:gd name="T36" fmla="*/ 33 w 95"/>
                <a:gd name="T37" fmla="*/ 31 h 65"/>
                <a:gd name="T38" fmla="*/ 59 w 95"/>
                <a:gd name="T39" fmla="*/ 30 h 65"/>
                <a:gd name="T40" fmla="*/ 62 w 95"/>
                <a:gd name="T41" fmla="*/ 30 h 65"/>
                <a:gd name="T42" fmla="*/ 62 w 95"/>
                <a:gd name="T43" fmla="*/ 33 h 65"/>
                <a:gd name="T44" fmla="*/ 46 w 95"/>
                <a:gd name="T45" fmla="*/ 39 h 65"/>
                <a:gd name="T46" fmla="*/ 31 w 95"/>
                <a:gd name="T47" fmla="*/ 35 h 65"/>
                <a:gd name="T48" fmla="*/ 30 w 95"/>
                <a:gd name="T49" fmla="*/ 3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5" h="65">
                  <a:moveTo>
                    <a:pt x="34" y="61"/>
                  </a:moveTo>
                  <a:cubicBezTo>
                    <a:pt x="41" y="65"/>
                    <a:pt x="53" y="63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8" y="56"/>
                    <a:pt x="74" y="53"/>
                    <a:pt x="77" y="48"/>
                  </a:cubicBezTo>
                  <a:cubicBezTo>
                    <a:pt x="77" y="48"/>
                    <a:pt x="77" y="48"/>
                    <a:pt x="78" y="48"/>
                  </a:cubicBezTo>
                  <a:cubicBezTo>
                    <a:pt x="85" y="41"/>
                    <a:pt x="90" y="32"/>
                    <a:pt x="93" y="23"/>
                  </a:cubicBezTo>
                  <a:cubicBezTo>
                    <a:pt x="94" y="20"/>
                    <a:pt x="94" y="17"/>
                    <a:pt x="95" y="14"/>
                  </a:cubicBezTo>
                  <a:cubicBezTo>
                    <a:pt x="89" y="18"/>
                    <a:pt x="83" y="20"/>
                    <a:pt x="75" y="20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62" y="20"/>
                    <a:pt x="50" y="12"/>
                    <a:pt x="44" y="0"/>
                  </a:cubicBezTo>
                  <a:cubicBezTo>
                    <a:pt x="39" y="12"/>
                    <a:pt x="27" y="20"/>
                    <a:pt x="13" y="20"/>
                  </a:cubicBezTo>
                  <a:cubicBezTo>
                    <a:pt x="9" y="20"/>
                    <a:pt x="4" y="19"/>
                    <a:pt x="0" y="17"/>
                  </a:cubicBezTo>
                  <a:cubicBezTo>
                    <a:pt x="1" y="27"/>
                    <a:pt x="4" y="37"/>
                    <a:pt x="11" y="44"/>
                  </a:cubicBezTo>
                  <a:cubicBezTo>
                    <a:pt x="11" y="44"/>
                    <a:pt x="12" y="45"/>
                    <a:pt x="12" y="45"/>
                  </a:cubicBezTo>
                  <a:cubicBezTo>
                    <a:pt x="14" y="47"/>
                    <a:pt x="27" y="57"/>
                    <a:pt x="28" y="58"/>
                  </a:cubicBezTo>
                  <a:cubicBezTo>
                    <a:pt x="29" y="59"/>
                    <a:pt x="29" y="59"/>
                    <a:pt x="30" y="60"/>
                  </a:cubicBezTo>
                  <a:cubicBezTo>
                    <a:pt x="31" y="60"/>
                    <a:pt x="33" y="61"/>
                    <a:pt x="34" y="61"/>
                  </a:cubicBezTo>
                  <a:close/>
                  <a:moveTo>
                    <a:pt x="30" y="32"/>
                  </a:moveTo>
                  <a:cubicBezTo>
                    <a:pt x="31" y="31"/>
                    <a:pt x="32" y="30"/>
                    <a:pt x="33" y="31"/>
                  </a:cubicBezTo>
                  <a:cubicBezTo>
                    <a:pt x="34" y="31"/>
                    <a:pt x="48" y="40"/>
                    <a:pt x="59" y="30"/>
                  </a:cubicBezTo>
                  <a:cubicBezTo>
                    <a:pt x="60" y="29"/>
                    <a:pt x="61" y="29"/>
                    <a:pt x="62" y="30"/>
                  </a:cubicBezTo>
                  <a:cubicBezTo>
                    <a:pt x="63" y="31"/>
                    <a:pt x="63" y="32"/>
                    <a:pt x="62" y="33"/>
                  </a:cubicBezTo>
                  <a:cubicBezTo>
                    <a:pt x="57" y="38"/>
                    <a:pt x="51" y="39"/>
                    <a:pt x="46" y="39"/>
                  </a:cubicBezTo>
                  <a:cubicBezTo>
                    <a:pt x="38" y="39"/>
                    <a:pt x="31" y="35"/>
                    <a:pt x="31" y="35"/>
                  </a:cubicBezTo>
                  <a:cubicBezTo>
                    <a:pt x="30" y="34"/>
                    <a:pt x="29" y="33"/>
                    <a:pt x="30" y="32"/>
                  </a:cubicBezTo>
                  <a:close/>
                </a:path>
              </a:pathLst>
            </a:custGeom>
            <a:solidFill>
              <a:srgbClr val="F4E7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42" name="scientist_idea_female">
            <a:extLst>
              <a:ext uri="{FF2B5EF4-FFF2-40B4-BE49-F238E27FC236}">
                <a16:creationId xmlns:a16="http://schemas.microsoft.com/office/drawing/2014/main" id="{1D7F3F65-609C-9AA1-77D0-E6D2872F0F04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841376" y="3965575"/>
            <a:ext cx="114300" cy="38100"/>
          </a:xfrm>
          <a:custGeom>
            <a:avLst/>
            <a:gdLst>
              <a:gd name="T0" fmla="*/ 2 w 34"/>
              <a:gd name="T1" fmla="*/ 6 h 11"/>
              <a:gd name="T2" fmla="*/ 17 w 34"/>
              <a:gd name="T3" fmla="*/ 10 h 11"/>
              <a:gd name="T4" fmla="*/ 33 w 34"/>
              <a:gd name="T5" fmla="*/ 4 h 11"/>
              <a:gd name="T6" fmla="*/ 33 w 34"/>
              <a:gd name="T7" fmla="*/ 1 h 11"/>
              <a:gd name="T8" fmla="*/ 30 w 34"/>
              <a:gd name="T9" fmla="*/ 1 h 11"/>
              <a:gd name="T10" fmla="*/ 4 w 34"/>
              <a:gd name="T11" fmla="*/ 2 h 11"/>
              <a:gd name="T12" fmla="*/ 1 w 34"/>
              <a:gd name="T13" fmla="*/ 3 h 11"/>
              <a:gd name="T14" fmla="*/ 2 w 34"/>
              <a:gd name="T15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4" h="11">
                <a:moveTo>
                  <a:pt x="2" y="6"/>
                </a:moveTo>
                <a:cubicBezTo>
                  <a:pt x="2" y="6"/>
                  <a:pt x="9" y="10"/>
                  <a:pt x="17" y="10"/>
                </a:cubicBezTo>
                <a:cubicBezTo>
                  <a:pt x="22" y="10"/>
                  <a:pt x="28" y="9"/>
                  <a:pt x="33" y="4"/>
                </a:cubicBezTo>
                <a:cubicBezTo>
                  <a:pt x="34" y="3"/>
                  <a:pt x="34" y="2"/>
                  <a:pt x="33" y="1"/>
                </a:cubicBezTo>
                <a:cubicBezTo>
                  <a:pt x="32" y="0"/>
                  <a:pt x="31" y="0"/>
                  <a:pt x="30" y="1"/>
                </a:cubicBezTo>
                <a:cubicBezTo>
                  <a:pt x="19" y="11"/>
                  <a:pt x="5" y="2"/>
                  <a:pt x="4" y="2"/>
                </a:cubicBezTo>
                <a:cubicBezTo>
                  <a:pt x="3" y="1"/>
                  <a:pt x="2" y="2"/>
                  <a:pt x="1" y="3"/>
                </a:cubicBezTo>
                <a:cubicBezTo>
                  <a:pt x="0" y="4"/>
                  <a:pt x="1" y="5"/>
                  <a:pt x="2" y="6"/>
                </a:cubicBezTo>
                <a:close/>
              </a:path>
            </a:pathLst>
          </a:custGeom>
          <a:solidFill>
            <a:srgbClr val="EB3C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43" name="scientist_idea_female">
            <a:extLst>
              <a:ext uri="{FF2B5EF4-FFF2-40B4-BE49-F238E27FC236}">
                <a16:creationId xmlns:a16="http://schemas.microsoft.com/office/drawing/2014/main" id="{E3E15A12-6127-83E6-B73F-03F194F0036B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623888" y="2743200"/>
            <a:ext cx="1676400" cy="3343276"/>
            <a:chOff x="1084263" y="1608138"/>
            <a:chExt cx="1676400" cy="3343276"/>
          </a:xfrm>
        </p:grpSpPr>
        <p:sp>
          <p:nvSpPr>
            <p:cNvPr id="144" name="Freeform 5">
              <a:extLst>
                <a:ext uri="{FF2B5EF4-FFF2-40B4-BE49-F238E27FC236}">
                  <a16:creationId xmlns:a16="http://schemas.microsoft.com/office/drawing/2014/main" id="{16430475-319F-5CDC-5EB9-E1F8E3C97867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020888" y="1608138"/>
              <a:ext cx="739775" cy="735013"/>
            </a:xfrm>
            <a:custGeom>
              <a:avLst/>
              <a:gdLst>
                <a:gd name="T0" fmla="*/ 218 w 220"/>
                <a:gd name="T1" fmla="*/ 114 h 219"/>
                <a:gd name="T2" fmla="*/ 185 w 220"/>
                <a:gd name="T3" fmla="*/ 99 h 219"/>
                <a:gd name="T4" fmla="*/ 169 w 220"/>
                <a:gd name="T5" fmla="*/ 90 h 219"/>
                <a:gd name="T6" fmla="*/ 177 w 220"/>
                <a:gd name="T7" fmla="*/ 74 h 219"/>
                <a:gd name="T8" fmla="*/ 194 w 220"/>
                <a:gd name="T9" fmla="*/ 43 h 219"/>
                <a:gd name="T10" fmla="*/ 194 w 220"/>
                <a:gd name="T11" fmla="*/ 39 h 219"/>
                <a:gd name="T12" fmla="*/ 191 w 220"/>
                <a:gd name="T13" fmla="*/ 38 h 219"/>
                <a:gd name="T14" fmla="*/ 157 w 220"/>
                <a:gd name="T15" fmla="*/ 50 h 219"/>
                <a:gd name="T16" fmla="*/ 138 w 220"/>
                <a:gd name="T17" fmla="*/ 55 h 219"/>
                <a:gd name="T18" fmla="*/ 131 w 220"/>
                <a:gd name="T19" fmla="*/ 37 h 219"/>
                <a:gd name="T20" fmla="*/ 120 w 220"/>
                <a:gd name="T21" fmla="*/ 2 h 219"/>
                <a:gd name="T22" fmla="*/ 118 w 220"/>
                <a:gd name="T23" fmla="*/ 0 h 219"/>
                <a:gd name="T24" fmla="*/ 114 w 220"/>
                <a:gd name="T25" fmla="*/ 2 h 219"/>
                <a:gd name="T26" fmla="*/ 100 w 220"/>
                <a:gd name="T27" fmla="*/ 35 h 219"/>
                <a:gd name="T28" fmla="*/ 91 w 220"/>
                <a:gd name="T29" fmla="*/ 50 h 219"/>
                <a:gd name="T30" fmla="*/ 74 w 220"/>
                <a:gd name="T31" fmla="*/ 43 h 219"/>
                <a:gd name="T32" fmla="*/ 43 w 220"/>
                <a:gd name="T33" fmla="*/ 25 h 219"/>
                <a:gd name="T34" fmla="*/ 39 w 220"/>
                <a:gd name="T35" fmla="*/ 25 h 219"/>
                <a:gd name="T36" fmla="*/ 38 w 220"/>
                <a:gd name="T37" fmla="*/ 29 h 219"/>
                <a:gd name="T38" fmla="*/ 50 w 220"/>
                <a:gd name="T39" fmla="*/ 63 h 219"/>
                <a:gd name="T40" fmla="*/ 55 w 220"/>
                <a:gd name="T41" fmla="*/ 82 h 219"/>
                <a:gd name="T42" fmla="*/ 37 w 220"/>
                <a:gd name="T43" fmla="*/ 89 h 219"/>
                <a:gd name="T44" fmla="*/ 3 w 220"/>
                <a:gd name="T45" fmla="*/ 99 h 219"/>
                <a:gd name="T46" fmla="*/ 0 w 220"/>
                <a:gd name="T47" fmla="*/ 102 h 219"/>
                <a:gd name="T48" fmla="*/ 2 w 220"/>
                <a:gd name="T49" fmla="*/ 105 h 219"/>
                <a:gd name="T50" fmla="*/ 35 w 220"/>
                <a:gd name="T51" fmla="*/ 120 h 219"/>
                <a:gd name="T52" fmla="*/ 51 w 220"/>
                <a:gd name="T53" fmla="*/ 129 h 219"/>
                <a:gd name="T54" fmla="*/ 43 w 220"/>
                <a:gd name="T55" fmla="*/ 146 h 219"/>
                <a:gd name="T56" fmla="*/ 25 w 220"/>
                <a:gd name="T57" fmla="*/ 177 h 219"/>
                <a:gd name="T58" fmla="*/ 26 w 220"/>
                <a:gd name="T59" fmla="*/ 180 h 219"/>
                <a:gd name="T60" fmla="*/ 29 w 220"/>
                <a:gd name="T61" fmla="*/ 181 h 219"/>
                <a:gd name="T62" fmla="*/ 63 w 220"/>
                <a:gd name="T63" fmla="*/ 169 h 219"/>
                <a:gd name="T64" fmla="*/ 82 w 220"/>
                <a:gd name="T65" fmla="*/ 164 h 219"/>
                <a:gd name="T66" fmla="*/ 89 w 220"/>
                <a:gd name="T67" fmla="*/ 183 h 219"/>
                <a:gd name="T68" fmla="*/ 99 w 220"/>
                <a:gd name="T69" fmla="*/ 217 h 219"/>
                <a:gd name="T70" fmla="*/ 102 w 220"/>
                <a:gd name="T71" fmla="*/ 219 h 219"/>
                <a:gd name="T72" fmla="*/ 105 w 220"/>
                <a:gd name="T73" fmla="*/ 217 h 219"/>
                <a:gd name="T74" fmla="*/ 120 w 220"/>
                <a:gd name="T75" fmla="*/ 185 h 219"/>
                <a:gd name="T76" fmla="*/ 129 w 220"/>
                <a:gd name="T77" fmla="*/ 169 h 219"/>
                <a:gd name="T78" fmla="*/ 146 w 220"/>
                <a:gd name="T79" fmla="*/ 176 h 219"/>
                <a:gd name="T80" fmla="*/ 177 w 220"/>
                <a:gd name="T81" fmla="*/ 194 h 219"/>
                <a:gd name="T82" fmla="*/ 181 w 220"/>
                <a:gd name="T83" fmla="*/ 194 h 219"/>
                <a:gd name="T84" fmla="*/ 182 w 220"/>
                <a:gd name="T85" fmla="*/ 190 h 219"/>
                <a:gd name="T86" fmla="*/ 169 w 220"/>
                <a:gd name="T87" fmla="*/ 157 h 219"/>
                <a:gd name="T88" fmla="*/ 165 w 220"/>
                <a:gd name="T89" fmla="*/ 138 h 219"/>
                <a:gd name="T90" fmla="*/ 183 w 220"/>
                <a:gd name="T91" fmla="*/ 130 h 219"/>
                <a:gd name="T92" fmla="*/ 217 w 220"/>
                <a:gd name="T93" fmla="*/ 120 h 219"/>
                <a:gd name="T94" fmla="*/ 220 w 220"/>
                <a:gd name="T95" fmla="*/ 117 h 219"/>
                <a:gd name="T96" fmla="*/ 218 w 220"/>
                <a:gd name="T97" fmla="*/ 114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0" h="219">
                  <a:moveTo>
                    <a:pt x="218" y="114"/>
                  </a:moveTo>
                  <a:cubicBezTo>
                    <a:pt x="185" y="99"/>
                    <a:pt x="185" y="99"/>
                    <a:pt x="185" y="99"/>
                  </a:cubicBezTo>
                  <a:cubicBezTo>
                    <a:pt x="179" y="97"/>
                    <a:pt x="174" y="94"/>
                    <a:pt x="169" y="90"/>
                  </a:cubicBezTo>
                  <a:cubicBezTo>
                    <a:pt x="171" y="85"/>
                    <a:pt x="174" y="79"/>
                    <a:pt x="177" y="74"/>
                  </a:cubicBezTo>
                  <a:cubicBezTo>
                    <a:pt x="194" y="43"/>
                    <a:pt x="194" y="43"/>
                    <a:pt x="194" y="43"/>
                  </a:cubicBezTo>
                  <a:cubicBezTo>
                    <a:pt x="195" y="42"/>
                    <a:pt x="195" y="40"/>
                    <a:pt x="194" y="39"/>
                  </a:cubicBezTo>
                  <a:cubicBezTo>
                    <a:pt x="193" y="38"/>
                    <a:pt x="192" y="38"/>
                    <a:pt x="191" y="38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51" y="52"/>
                    <a:pt x="144" y="54"/>
                    <a:pt x="138" y="55"/>
                  </a:cubicBezTo>
                  <a:cubicBezTo>
                    <a:pt x="135" y="49"/>
                    <a:pt x="132" y="43"/>
                    <a:pt x="131" y="37"/>
                  </a:cubicBezTo>
                  <a:cubicBezTo>
                    <a:pt x="120" y="2"/>
                    <a:pt x="120" y="2"/>
                    <a:pt x="120" y="2"/>
                  </a:cubicBezTo>
                  <a:cubicBezTo>
                    <a:pt x="120" y="1"/>
                    <a:pt x="119" y="0"/>
                    <a:pt x="118" y="0"/>
                  </a:cubicBezTo>
                  <a:cubicBezTo>
                    <a:pt x="116" y="0"/>
                    <a:pt x="115" y="1"/>
                    <a:pt x="114" y="2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97" y="40"/>
                    <a:pt x="94" y="45"/>
                    <a:pt x="91" y="50"/>
                  </a:cubicBezTo>
                  <a:cubicBezTo>
                    <a:pt x="85" y="48"/>
                    <a:pt x="79" y="46"/>
                    <a:pt x="74" y="43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4"/>
                    <a:pt x="40" y="25"/>
                    <a:pt x="39" y="25"/>
                  </a:cubicBezTo>
                  <a:cubicBezTo>
                    <a:pt x="38" y="26"/>
                    <a:pt x="38" y="28"/>
                    <a:pt x="38" y="29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53" y="69"/>
                    <a:pt x="54" y="75"/>
                    <a:pt x="55" y="82"/>
                  </a:cubicBezTo>
                  <a:cubicBezTo>
                    <a:pt x="49" y="85"/>
                    <a:pt x="43" y="87"/>
                    <a:pt x="37" y="89"/>
                  </a:cubicBezTo>
                  <a:cubicBezTo>
                    <a:pt x="3" y="99"/>
                    <a:pt x="3" y="99"/>
                    <a:pt x="3" y="99"/>
                  </a:cubicBezTo>
                  <a:cubicBezTo>
                    <a:pt x="1" y="99"/>
                    <a:pt x="0" y="101"/>
                    <a:pt x="0" y="102"/>
                  </a:cubicBezTo>
                  <a:cubicBezTo>
                    <a:pt x="0" y="103"/>
                    <a:pt x="1" y="105"/>
                    <a:pt x="2" y="105"/>
                  </a:cubicBezTo>
                  <a:cubicBezTo>
                    <a:pt x="35" y="120"/>
                    <a:pt x="35" y="120"/>
                    <a:pt x="35" y="120"/>
                  </a:cubicBezTo>
                  <a:cubicBezTo>
                    <a:pt x="41" y="122"/>
                    <a:pt x="46" y="125"/>
                    <a:pt x="51" y="129"/>
                  </a:cubicBezTo>
                  <a:cubicBezTo>
                    <a:pt x="49" y="135"/>
                    <a:pt x="46" y="140"/>
                    <a:pt x="43" y="146"/>
                  </a:cubicBezTo>
                  <a:cubicBezTo>
                    <a:pt x="25" y="177"/>
                    <a:pt x="25" y="177"/>
                    <a:pt x="25" y="177"/>
                  </a:cubicBezTo>
                  <a:cubicBezTo>
                    <a:pt x="25" y="178"/>
                    <a:pt x="25" y="179"/>
                    <a:pt x="26" y="180"/>
                  </a:cubicBezTo>
                  <a:cubicBezTo>
                    <a:pt x="27" y="181"/>
                    <a:pt x="28" y="182"/>
                    <a:pt x="29" y="181"/>
                  </a:cubicBezTo>
                  <a:cubicBezTo>
                    <a:pt x="63" y="169"/>
                    <a:pt x="63" y="169"/>
                    <a:pt x="63" y="169"/>
                  </a:cubicBezTo>
                  <a:cubicBezTo>
                    <a:pt x="69" y="167"/>
                    <a:pt x="76" y="165"/>
                    <a:pt x="82" y="164"/>
                  </a:cubicBezTo>
                  <a:cubicBezTo>
                    <a:pt x="85" y="170"/>
                    <a:pt x="88" y="176"/>
                    <a:pt x="89" y="183"/>
                  </a:cubicBezTo>
                  <a:cubicBezTo>
                    <a:pt x="99" y="217"/>
                    <a:pt x="99" y="217"/>
                    <a:pt x="99" y="217"/>
                  </a:cubicBezTo>
                  <a:cubicBezTo>
                    <a:pt x="100" y="218"/>
                    <a:pt x="101" y="219"/>
                    <a:pt x="102" y="219"/>
                  </a:cubicBezTo>
                  <a:cubicBezTo>
                    <a:pt x="104" y="219"/>
                    <a:pt x="105" y="219"/>
                    <a:pt x="105" y="217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3" y="179"/>
                    <a:pt x="126" y="174"/>
                    <a:pt x="129" y="169"/>
                  </a:cubicBezTo>
                  <a:cubicBezTo>
                    <a:pt x="135" y="171"/>
                    <a:pt x="140" y="173"/>
                    <a:pt x="146" y="176"/>
                  </a:cubicBezTo>
                  <a:cubicBezTo>
                    <a:pt x="177" y="194"/>
                    <a:pt x="177" y="194"/>
                    <a:pt x="177" y="194"/>
                  </a:cubicBezTo>
                  <a:cubicBezTo>
                    <a:pt x="178" y="195"/>
                    <a:pt x="180" y="195"/>
                    <a:pt x="181" y="194"/>
                  </a:cubicBezTo>
                  <a:cubicBezTo>
                    <a:pt x="182" y="193"/>
                    <a:pt x="182" y="192"/>
                    <a:pt x="182" y="190"/>
                  </a:cubicBezTo>
                  <a:cubicBezTo>
                    <a:pt x="169" y="157"/>
                    <a:pt x="169" y="157"/>
                    <a:pt x="169" y="157"/>
                  </a:cubicBezTo>
                  <a:cubicBezTo>
                    <a:pt x="167" y="150"/>
                    <a:pt x="166" y="144"/>
                    <a:pt x="165" y="138"/>
                  </a:cubicBezTo>
                  <a:cubicBezTo>
                    <a:pt x="170" y="135"/>
                    <a:pt x="177" y="132"/>
                    <a:pt x="183" y="130"/>
                  </a:cubicBezTo>
                  <a:cubicBezTo>
                    <a:pt x="217" y="120"/>
                    <a:pt x="217" y="120"/>
                    <a:pt x="217" y="120"/>
                  </a:cubicBezTo>
                  <a:cubicBezTo>
                    <a:pt x="219" y="120"/>
                    <a:pt x="219" y="119"/>
                    <a:pt x="220" y="117"/>
                  </a:cubicBezTo>
                  <a:cubicBezTo>
                    <a:pt x="220" y="116"/>
                    <a:pt x="219" y="115"/>
                    <a:pt x="218" y="114"/>
                  </a:cubicBezTo>
                  <a:close/>
                </a:path>
              </a:pathLst>
            </a:custGeom>
            <a:solidFill>
              <a:srgbClr val="96D7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5" name="Oval 6">
              <a:extLst>
                <a:ext uri="{FF2B5EF4-FFF2-40B4-BE49-F238E27FC236}">
                  <a16:creationId xmlns:a16="http://schemas.microsoft.com/office/drawing/2014/main" id="{F8AF94F5-C8B1-4F61-432E-E11689586E7E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803401" y="2192338"/>
              <a:ext cx="279400" cy="234950"/>
            </a:xfrm>
            <a:prstGeom prst="ellipse">
              <a:avLst/>
            </a:prstGeom>
            <a:solidFill>
              <a:srgbClr val="96D7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6" name="Oval 7">
              <a:extLst>
                <a:ext uri="{FF2B5EF4-FFF2-40B4-BE49-F238E27FC236}">
                  <a16:creationId xmlns:a16="http://schemas.microsoft.com/office/drawing/2014/main" id="{7572905E-A0CE-416F-71CE-7FCEA572BD1A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704976" y="2432051"/>
              <a:ext cx="114300" cy="96838"/>
            </a:xfrm>
            <a:prstGeom prst="ellipse">
              <a:avLst/>
            </a:prstGeom>
            <a:solidFill>
              <a:srgbClr val="96D7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7" name="Freeform 11">
              <a:extLst>
                <a:ext uri="{FF2B5EF4-FFF2-40B4-BE49-F238E27FC236}">
                  <a16:creationId xmlns:a16="http://schemas.microsoft.com/office/drawing/2014/main" id="{446C0781-290B-0AFA-C308-90641F6568FA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1084263" y="4826001"/>
              <a:ext cx="150813" cy="125413"/>
            </a:xfrm>
            <a:custGeom>
              <a:avLst/>
              <a:gdLst>
                <a:gd name="T0" fmla="*/ 9 w 45"/>
                <a:gd name="T1" fmla="*/ 5 h 37"/>
                <a:gd name="T2" fmla="*/ 0 w 45"/>
                <a:gd name="T3" fmla="*/ 30 h 37"/>
                <a:gd name="T4" fmla="*/ 38 w 45"/>
                <a:gd name="T5" fmla="*/ 28 h 37"/>
                <a:gd name="T6" fmla="*/ 41 w 45"/>
                <a:gd name="T7" fmla="*/ 30 h 37"/>
                <a:gd name="T8" fmla="*/ 41 w 45"/>
                <a:gd name="T9" fmla="*/ 37 h 37"/>
                <a:gd name="T10" fmla="*/ 40 w 45"/>
                <a:gd name="T11" fmla="*/ 4 h 37"/>
                <a:gd name="T12" fmla="*/ 27 w 45"/>
                <a:gd name="T13" fmla="*/ 0 h 37"/>
                <a:gd name="T14" fmla="*/ 9 w 45"/>
                <a:gd name="T15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7">
                  <a:moveTo>
                    <a:pt x="9" y="5"/>
                  </a:moveTo>
                  <a:cubicBezTo>
                    <a:pt x="3" y="10"/>
                    <a:pt x="1" y="18"/>
                    <a:pt x="0" y="30"/>
                  </a:cubicBezTo>
                  <a:cubicBezTo>
                    <a:pt x="15" y="26"/>
                    <a:pt x="17" y="23"/>
                    <a:pt x="38" y="28"/>
                  </a:cubicBezTo>
                  <a:cubicBezTo>
                    <a:pt x="42" y="29"/>
                    <a:pt x="38" y="30"/>
                    <a:pt x="41" y="30"/>
                  </a:cubicBezTo>
                  <a:cubicBezTo>
                    <a:pt x="41" y="32"/>
                    <a:pt x="41" y="35"/>
                    <a:pt x="41" y="37"/>
                  </a:cubicBezTo>
                  <a:cubicBezTo>
                    <a:pt x="41" y="20"/>
                    <a:pt x="45" y="9"/>
                    <a:pt x="40" y="4"/>
                  </a:cubicBezTo>
                  <a:cubicBezTo>
                    <a:pt x="37" y="1"/>
                    <a:pt x="33" y="0"/>
                    <a:pt x="27" y="0"/>
                  </a:cubicBezTo>
                  <a:cubicBezTo>
                    <a:pt x="19" y="0"/>
                    <a:pt x="13" y="1"/>
                    <a:pt x="9" y="5"/>
                  </a:cubicBezTo>
                  <a:close/>
                </a:path>
              </a:pathLst>
            </a:custGeom>
            <a:solidFill>
              <a:srgbClr val="96D7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8" name="Freeform 13">
              <a:extLst>
                <a:ext uri="{FF2B5EF4-FFF2-40B4-BE49-F238E27FC236}">
                  <a16:creationId xmlns:a16="http://schemas.microsoft.com/office/drawing/2014/main" id="{442BA7A7-9AE7-B61B-120F-F79409AB0AD0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547813" y="4826001"/>
              <a:ext cx="141288" cy="125413"/>
            </a:xfrm>
            <a:custGeom>
              <a:avLst/>
              <a:gdLst>
                <a:gd name="T0" fmla="*/ 6 w 42"/>
                <a:gd name="T1" fmla="*/ 4 h 37"/>
                <a:gd name="T2" fmla="*/ 2 w 42"/>
                <a:gd name="T3" fmla="*/ 37 h 37"/>
                <a:gd name="T4" fmla="*/ 2 w 42"/>
                <a:gd name="T5" fmla="*/ 37 h 37"/>
                <a:gd name="T6" fmla="*/ 2 w 42"/>
                <a:gd name="T7" fmla="*/ 29 h 37"/>
                <a:gd name="T8" fmla="*/ 5 w 42"/>
                <a:gd name="T9" fmla="*/ 28 h 37"/>
                <a:gd name="T10" fmla="*/ 42 w 42"/>
                <a:gd name="T11" fmla="*/ 30 h 37"/>
                <a:gd name="T12" fmla="*/ 42 w 42"/>
                <a:gd name="T13" fmla="*/ 37 h 37"/>
                <a:gd name="T14" fmla="*/ 42 w 42"/>
                <a:gd name="T15" fmla="*/ 37 h 37"/>
                <a:gd name="T16" fmla="*/ 32 w 42"/>
                <a:gd name="T17" fmla="*/ 3 h 37"/>
                <a:gd name="T18" fmla="*/ 19 w 42"/>
                <a:gd name="T19" fmla="*/ 0 h 37"/>
                <a:gd name="T20" fmla="*/ 6 w 42"/>
                <a:gd name="T21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37">
                  <a:moveTo>
                    <a:pt x="6" y="4"/>
                  </a:moveTo>
                  <a:cubicBezTo>
                    <a:pt x="0" y="9"/>
                    <a:pt x="2" y="20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4"/>
                    <a:pt x="2" y="32"/>
                    <a:pt x="2" y="29"/>
                  </a:cubicBezTo>
                  <a:cubicBezTo>
                    <a:pt x="5" y="29"/>
                    <a:pt x="2" y="29"/>
                    <a:pt x="5" y="28"/>
                  </a:cubicBezTo>
                  <a:cubicBezTo>
                    <a:pt x="25" y="22"/>
                    <a:pt x="28" y="26"/>
                    <a:pt x="42" y="30"/>
                  </a:cubicBezTo>
                  <a:cubicBezTo>
                    <a:pt x="42" y="32"/>
                    <a:pt x="42" y="34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19"/>
                    <a:pt x="41" y="7"/>
                    <a:pt x="32" y="3"/>
                  </a:cubicBezTo>
                  <a:cubicBezTo>
                    <a:pt x="29" y="1"/>
                    <a:pt x="24" y="0"/>
                    <a:pt x="19" y="0"/>
                  </a:cubicBezTo>
                  <a:cubicBezTo>
                    <a:pt x="12" y="0"/>
                    <a:pt x="8" y="1"/>
                    <a:pt x="6" y="4"/>
                  </a:cubicBezTo>
                  <a:close/>
                </a:path>
              </a:pathLst>
            </a:custGeom>
            <a:solidFill>
              <a:srgbClr val="96D7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9" name="Rectangle 22">
              <a:extLst>
                <a:ext uri="{FF2B5EF4-FFF2-40B4-BE49-F238E27FC236}">
                  <a16:creationId xmlns:a16="http://schemas.microsoft.com/office/drawing/2014/main" id="{696355C6-94C0-191D-10EF-35CCA5ECDFAE}"/>
                </a:ext>
              </a:extLst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439863" y="3157538"/>
              <a:ext cx="95250" cy="30163"/>
            </a:xfrm>
            <a:prstGeom prst="rect">
              <a:avLst/>
            </a:prstGeom>
            <a:solidFill>
              <a:srgbClr val="96D7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0" name="Oval 23">
              <a:extLst>
                <a:ext uri="{FF2B5EF4-FFF2-40B4-BE49-F238E27FC236}">
                  <a16:creationId xmlns:a16="http://schemas.microsoft.com/office/drawing/2014/main" id="{3806A0EF-00A7-D319-CCF9-E9162A106F1B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306513" y="3122613"/>
              <a:ext cx="26988" cy="26988"/>
            </a:xfrm>
            <a:prstGeom prst="ellipse">
              <a:avLst/>
            </a:prstGeom>
            <a:solidFill>
              <a:srgbClr val="96D7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1" name="Oval 24">
              <a:extLst>
                <a:ext uri="{FF2B5EF4-FFF2-40B4-BE49-F238E27FC236}">
                  <a16:creationId xmlns:a16="http://schemas.microsoft.com/office/drawing/2014/main" id="{6327C7BD-6944-C2E9-89BD-FDADBB5DE09E}"/>
                </a:ext>
              </a:extLst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306513" y="3197226"/>
              <a:ext cx="26988" cy="26988"/>
            </a:xfrm>
            <a:prstGeom prst="ellipse">
              <a:avLst/>
            </a:prstGeom>
            <a:solidFill>
              <a:srgbClr val="96D7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2" name="Oval 25">
              <a:extLst>
                <a:ext uri="{FF2B5EF4-FFF2-40B4-BE49-F238E27FC236}">
                  <a16:creationId xmlns:a16="http://schemas.microsoft.com/office/drawing/2014/main" id="{AABBCC89-C198-BA1D-CDF5-DEB8F3E49FFD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306513" y="3271838"/>
              <a:ext cx="26988" cy="22225"/>
            </a:xfrm>
            <a:prstGeom prst="ellipse">
              <a:avLst/>
            </a:prstGeom>
            <a:solidFill>
              <a:srgbClr val="96D7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3" name="Freeform 26">
              <a:extLst>
                <a:ext uri="{FF2B5EF4-FFF2-40B4-BE49-F238E27FC236}">
                  <a16:creationId xmlns:a16="http://schemas.microsoft.com/office/drawing/2014/main" id="{7990C1D8-674C-DC6B-BBC7-BCEE0026B107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1192213" y="2932113"/>
              <a:ext cx="342900" cy="1270000"/>
            </a:xfrm>
            <a:custGeom>
              <a:avLst/>
              <a:gdLst>
                <a:gd name="T0" fmla="*/ 57 w 102"/>
                <a:gd name="T1" fmla="*/ 374 h 378"/>
                <a:gd name="T2" fmla="*/ 57 w 102"/>
                <a:gd name="T3" fmla="*/ 11 h 378"/>
                <a:gd name="T4" fmla="*/ 79 w 102"/>
                <a:gd name="T5" fmla="*/ 28 h 378"/>
                <a:gd name="T6" fmla="*/ 98 w 102"/>
                <a:gd name="T7" fmla="*/ 10 h 378"/>
                <a:gd name="T8" fmla="*/ 102 w 102"/>
                <a:gd name="T9" fmla="*/ 5 h 378"/>
                <a:gd name="T10" fmla="*/ 97 w 102"/>
                <a:gd name="T11" fmla="*/ 4 h 378"/>
                <a:gd name="T12" fmla="*/ 92 w 102"/>
                <a:gd name="T13" fmla="*/ 3 h 378"/>
                <a:gd name="T14" fmla="*/ 90 w 102"/>
                <a:gd name="T15" fmla="*/ 2 h 378"/>
                <a:gd name="T16" fmla="*/ 86 w 102"/>
                <a:gd name="T17" fmla="*/ 2 h 378"/>
                <a:gd name="T18" fmla="*/ 84 w 102"/>
                <a:gd name="T19" fmla="*/ 1 h 378"/>
                <a:gd name="T20" fmla="*/ 81 w 102"/>
                <a:gd name="T21" fmla="*/ 1 h 378"/>
                <a:gd name="T22" fmla="*/ 79 w 102"/>
                <a:gd name="T23" fmla="*/ 1 h 378"/>
                <a:gd name="T24" fmla="*/ 76 w 102"/>
                <a:gd name="T25" fmla="*/ 1 h 378"/>
                <a:gd name="T26" fmla="*/ 74 w 102"/>
                <a:gd name="T27" fmla="*/ 0 h 378"/>
                <a:gd name="T28" fmla="*/ 71 w 102"/>
                <a:gd name="T29" fmla="*/ 0 h 378"/>
                <a:gd name="T30" fmla="*/ 69 w 102"/>
                <a:gd name="T31" fmla="*/ 0 h 378"/>
                <a:gd name="T32" fmla="*/ 66 w 102"/>
                <a:gd name="T33" fmla="*/ 0 h 378"/>
                <a:gd name="T34" fmla="*/ 38 w 102"/>
                <a:gd name="T35" fmla="*/ 2 h 378"/>
                <a:gd name="T36" fmla="*/ 34 w 102"/>
                <a:gd name="T37" fmla="*/ 1 h 378"/>
                <a:gd name="T38" fmla="*/ 23 w 102"/>
                <a:gd name="T39" fmla="*/ 1 h 378"/>
                <a:gd name="T40" fmla="*/ 1 w 102"/>
                <a:gd name="T41" fmla="*/ 3 h 378"/>
                <a:gd name="T42" fmla="*/ 0 w 102"/>
                <a:gd name="T43" fmla="*/ 4 h 378"/>
                <a:gd name="T44" fmla="*/ 19 w 102"/>
                <a:gd name="T45" fmla="*/ 28 h 378"/>
                <a:gd name="T46" fmla="*/ 43 w 102"/>
                <a:gd name="T47" fmla="*/ 10 h 378"/>
                <a:gd name="T48" fmla="*/ 48 w 102"/>
                <a:gd name="T49" fmla="*/ 10 h 378"/>
                <a:gd name="T50" fmla="*/ 48 w 102"/>
                <a:gd name="T51" fmla="*/ 10 h 378"/>
                <a:gd name="T52" fmla="*/ 48 w 102"/>
                <a:gd name="T53" fmla="*/ 374 h 378"/>
                <a:gd name="T54" fmla="*/ 51 w 102"/>
                <a:gd name="T55" fmla="*/ 378 h 378"/>
                <a:gd name="T56" fmla="*/ 53 w 102"/>
                <a:gd name="T57" fmla="*/ 378 h 378"/>
                <a:gd name="T58" fmla="*/ 53 w 102"/>
                <a:gd name="T59" fmla="*/ 378 h 378"/>
                <a:gd name="T60" fmla="*/ 55 w 102"/>
                <a:gd name="T61" fmla="*/ 378 h 378"/>
                <a:gd name="T62" fmla="*/ 57 w 102"/>
                <a:gd name="T63" fmla="*/ 374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2" h="378">
                  <a:moveTo>
                    <a:pt x="57" y="374"/>
                  </a:moveTo>
                  <a:cubicBezTo>
                    <a:pt x="57" y="11"/>
                    <a:pt x="57" y="11"/>
                    <a:pt x="57" y="11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00" y="5"/>
                    <a:pt x="99" y="4"/>
                    <a:pt x="97" y="4"/>
                  </a:cubicBezTo>
                  <a:cubicBezTo>
                    <a:pt x="95" y="3"/>
                    <a:pt x="93" y="3"/>
                    <a:pt x="92" y="3"/>
                  </a:cubicBezTo>
                  <a:cubicBezTo>
                    <a:pt x="91" y="3"/>
                    <a:pt x="91" y="2"/>
                    <a:pt x="90" y="2"/>
                  </a:cubicBezTo>
                  <a:cubicBezTo>
                    <a:pt x="89" y="2"/>
                    <a:pt x="88" y="2"/>
                    <a:pt x="86" y="2"/>
                  </a:cubicBezTo>
                  <a:cubicBezTo>
                    <a:pt x="86" y="2"/>
                    <a:pt x="85" y="2"/>
                    <a:pt x="84" y="1"/>
                  </a:cubicBezTo>
                  <a:cubicBezTo>
                    <a:pt x="83" y="1"/>
                    <a:pt x="82" y="1"/>
                    <a:pt x="81" y="1"/>
                  </a:cubicBezTo>
                  <a:cubicBezTo>
                    <a:pt x="81" y="1"/>
                    <a:pt x="80" y="1"/>
                    <a:pt x="79" y="1"/>
                  </a:cubicBezTo>
                  <a:cubicBezTo>
                    <a:pt x="78" y="1"/>
                    <a:pt x="77" y="1"/>
                    <a:pt x="76" y="1"/>
                  </a:cubicBezTo>
                  <a:cubicBezTo>
                    <a:pt x="75" y="0"/>
                    <a:pt x="75" y="0"/>
                    <a:pt x="74" y="0"/>
                  </a:cubicBezTo>
                  <a:cubicBezTo>
                    <a:pt x="73" y="0"/>
                    <a:pt x="72" y="0"/>
                    <a:pt x="71" y="0"/>
                  </a:cubicBezTo>
                  <a:cubicBezTo>
                    <a:pt x="70" y="0"/>
                    <a:pt x="70" y="0"/>
                    <a:pt x="69" y="0"/>
                  </a:cubicBezTo>
                  <a:cubicBezTo>
                    <a:pt x="68" y="0"/>
                    <a:pt x="67" y="0"/>
                    <a:pt x="66" y="0"/>
                  </a:cubicBezTo>
                  <a:cubicBezTo>
                    <a:pt x="57" y="4"/>
                    <a:pt x="45" y="6"/>
                    <a:pt x="38" y="2"/>
                  </a:cubicBezTo>
                  <a:cubicBezTo>
                    <a:pt x="37" y="2"/>
                    <a:pt x="35" y="1"/>
                    <a:pt x="34" y="1"/>
                  </a:cubicBezTo>
                  <a:cubicBezTo>
                    <a:pt x="31" y="1"/>
                    <a:pt x="28" y="1"/>
                    <a:pt x="23" y="1"/>
                  </a:cubicBezTo>
                  <a:cubicBezTo>
                    <a:pt x="16" y="2"/>
                    <a:pt x="8" y="3"/>
                    <a:pt x="1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374"/>
                    <a:pt x="48" y="374"/>
                    <a:pt x="48" y="374"/>
                  </a:cubicBezTo>
                  <a:cubicBezTo>
                    <a:pt x="48" y="376"/>
                    <a:pt x="49" y="377"/>
                    <a:pt x="51" y="378"/>
                  </a:cubicBezTo>
                  <a:cubicBezTo>
                    <a:pt x="51" y="378"/>
                    <a:pt x="52" y="378"/>
                    <a:pt x="53" y="378"/>
                  </a:cubicBezTo>
                  <a:cubicBezTo>
                    <a:pt x="53" y="378"/>
                    <a:pt x="53" y="378"/>
                    <a:pt x="53" y="378"/>
                  </a:cubicBezTo>
                  <a:cubicBezTo>
                    <a:pt x="54" y="378"/>
                    <a:pt x="54" y="378"/>
                    <a:pt x="55" y="378"/>
                  </a:cubicBezTo>
                  <a:cubicBezTo>
                    <a:pt x="57" y="377"/>
                    <a:pt x="57" y="376"/>
                    <a:pt x="57" y="374"/>
                  </a:cubicBezTo>
                  <a:close/>
                </a:path>
              </a:pathLst>
            </a:custGeom>
            <a:solidFill>
              <a:srgbClr val="96D7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4" name="Freeform 33">
              <a:extLst>
                <a:ext uri="{FF2B5EF4-FFF2-40B4-BE49-F238E27FC236}">
                  <a16:creationId xmlns:a16="http://schemas.microsoft.com/office/drawing/2014/main" id="{2522536D-7382-628B-072D-0D123757BBCF}"/>
                </a:ext>
              </a:extLst>
            </p:cNvPr>
            <p:cNvSpPr>
              <a:spLocks noEditPoints="1"/>
            </p:cNvSpPr>
            <p:nvPr>
              <p:custDataLst>
                <p:tags r:id="rId30"/>
              </p:custDataLst>
            </p:nvPr>
          </p:nvSpPr>
          <p:spPr bwMode="auto">
            <a:xfrm>
              <a:off x="1157288" y="2628901"/>
              <a:ext cx="393700" cy="147638"/>
            </a:xfrm>
            <a:custGeom>
              <a:avLst/>
              <a:gdLst>
                <a:gd name="T0" fmla="*/ 117 w 117"/>
                <a:gd name="T1" fmla="*/ 17 h 44"/>
                <a:gd name="T2" fmla="*/ 100 w 117"/>
                <a:gd name="T3" fmla="*/ 0 h 44"/>
                <a:gd name="T4" fmla="*/ 16 w 117"/>
                <a:gd name="T5" fmla="*/ 0 h 44"/>
                <a:gd name="T6" fmla="*/ 0 w 117"/>
                <a:gd name="T7" fmla="*/ 17 h 44"/>
                <a:gd name="T8" fmla="*/ 27 w 117"/>
                <a:gd name="T9" fmla="*/ 44 h 44"/>
                <a:gd name="T10" fmla="*/ 55 w 117"/>
                <a:gd name="T11" fmla="*/ 17 h 44"/>
                <a:gd name="T12" fmla="*/ 58 w 117"/>
                <a:gd name="T13" fmla="*/ 13 h 44"/>
                <a:gd name="T14" fmla="*/ 62 w 117"/>
                <a:gd name="T15" fmla="*/ 17 h 44"/>
                <a:gd name="T16" fmla="*/ 89 w 117"/>
                <a:gd name="T17" fmla="*/ 44 h 44"/>
                <a:gd name="T18" fmla="*/ 117 w 117"/>
                <a:gd name="T19" fmla="*/ 17 h 44"/>
                <a:gd name="T20" fmla="*/ 28 w 117"/>
                <a:gd name="T21" fmla="*/ 21 h 44"/>
                <a:gd name="T22" fmla="*/ 30 w 117"/>
                <a:gd name="T23" fmla="*/ 15 h 44"/>
                <a:gd name="T24" fmla="*/ 37 w 117"/>
                <a:gd name="T25" fmla="*/ 17 h 44"/>
                <a:gd name="T26" fmla="*/ 35 w 117"/>
                <a:gd name="T27" fmla="*/ 24 h 44"/>
                <a:gd name="T28" fmla="*/ 28 w 117"/>
                <a:gd name="T29" fmla="*/ 21 h 44"/>
                <a:gd name="T30" fmla="*/ 88 w 117"/>
                <a:gd name="T31" fmla="*/ 24 h 44"/>
                <a:gd name="T32" fmla="*/ 81 w 117"/>
                <a:gd name="T33" fmla="*/ 21 h 44"/>
                <a:gd name="T34" fmla="*/ 84 w 117"/>
                <a:gd name="T35" fmla="*/ 15 h 44"/>
                <a:gd name="T36" fmla="*/ 91 w 117"/>
                <a:gd name="T37" fmla="*/ 17 h 44"/>
                <a:gd name="T38" fmla="*/ 88 w 117"/>
                <a:gd name="T39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7" h="44">
                  <a:moveTo>
                    <a:pt x="117" y="17"/>
                  </a:moveTo>
                  <a:cubicBezTo>
                    <a:pt x="117" y="7"/>
                    <a:pt x="109" y="0"/>
                    <a:pt x="10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7"/>
                  </a:cubicBezTo>
                  <a:cubicBezTo>
                    <a:pt x="0" y="32"/>
                    <a:pt x="12" y="44"/>
                    <a:pt x="27" y="44"/>
                  </a:cubicBezTo>
                  <a:cubicBezTo>
                    <a:pt x="43" y="44"/>
                    <a:pt x="55" y="32"/>
                    <a:pt x="55" y="17"/>
                  </a:cubicBezTo>
                  <a:cubicBezTo>
                    <a:pt x="55" y="15"/>
                    <a:pt x="56" y="13"/>
                    <a:pt x="58" y="13"/>
                  </a:cubicBezTo>
                  <a:cubicBezTo>
                    <a:pt x="60" y="13"/>
                    <a:pt x="62" y="15"/>
                    <a:pt x="62" y="17"/>
                  </a:cubicBezTo>
                  <a:cubicBezTo>
                    <a:pt x="62" y="32"/>
                    <a:pt x="74" y="44"/>
                    <a:pt x="89" y="44"/>
                  </a:cubicBezTo>
                  <a:cubicBezTo>
                    <a:pt x="105" y="44"/>
                    <a:pt x="117" y="32"/>
                    <a:pt x="117" y="17"/>
                  </a:cubicBezTo>
                  <a:close/>
                  <a:moveTo>
                    <a:pt x="28" y="21"/>
                  </a:moveTo>
                  <a:cubicBezTo>
                    <a:pt x="27" y="19"/>
                    <a:pt x="28" y="16"/>
                    <a:pt x="30" y="15"/>
                  </a:cubicBezTo>
                  <a:cubicBezTo>
                    <a:pt x="33" y="13"/>
                    <a:pt x="36" y="14"/>
                    <a:pt x="37" y="17"/>
                  </a:cubicBezTo>
                  <a:cubicBezTo>
                    <a:pt x="38" y="20"/>
                    <a:pt x="37" y="23"/>
                    <a:pt x="35" y="24"/>
                  </a:cubicBezTo>
                  <a:cubicBezTo>
                    <a:pt x="32" y="25"/>
                    <a:pt x="29" y="24"/>
                    <a:pt x="28" y="21"/>
                  </a:cubicBezTo>
                  <a:close/>
                  <a:moveTo>
                    <a:pt x="88" y="24"/>
                  </a:moveTo>
                  <a:cubicBezTo>
                    <a:pt x="86" y="25"/>
                    <a:pt x="83" y="24"/>
                    <a:pt x="81" y="21"/>
                  </a:cubicBezTo>
                  <a:cubicBezTo>
                    <a:pt x="80" y="19"/>
                    <a:pt x="81" y="16"/>
                    <a:pt x="84" y="15"/>
                  </a:cubicBezTo>
                  <a:cubicBezTo>
                    <a:pt x="86" y="13"/>
                    <a:pt x="89" y="14"/>
                    <a:pt x="91" y="17"/>
                  </a:cubicBezTo>
                  <a:cubicBezTo>
                    <a:pt x="92" y="20"/>
                    <a:pt x="91" y="23"/>
                    <a:pt x="88" y="24"/>
                  </a:cubicBezTo>
                  <a:close/>
                </a:path>
              </a:pathLst>
            </a:custGeom>
            <a:solidFill>
              <a:srgbClr val="96D7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5" name="scientist_idea_female">
            <a:extLst>
              <a:ext uri="{FF2B5EF4-FFF2-40B4-BE49-F238E27FC236}">
                <a16:creationId xmlns:a16="http://schemas.microsoft.com/office/drawing/2014/main" id="{618162B6-9CC3-9B9C-3DCC-4C21A114C5F5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623888" y="3736975"/>
            <a:ext cx="604838" cy="2355850"/>
            <a:chOff x="1084263" y="2601913"/>
            <a:chExt cx="604838" cy="2355850"/>
          </a:xfrm>
        </p:grpSpPr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8482D73B-1D4E-5790-CD98-B418540B5AA3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1084263" y="4903788"/>
              <a:ext cx="141288" cy="53975"/>
            </a:xfrm>
            <a:custGeom>
              <a:avLst/>
              <a:gdLst>
                <a:gd name="T0" fmla="*/ 38 w 42"/>
                <a:gd name="T1" fmla="*/ 5 h 16"/>
                <a:gd name="T2" fmla="*/ 0 w 42"/>
                <a:gd name="T3" fmla="*/ 7 h 16"/>
                <a:gd name="T4" fmla="*/ 0 w 42"/>
                <a:gd name="T5" fmla="*/ 7 h 16"/>
                <a:gd name="T6" fmla="*/ 0 w 42"/>
                <a:gd name="T7" fmla="*/ 10 h 16"/>
                <a:gd name="T8" fmla="*/ 0 w 42"/>
                <a:gd name="T9" fmla="*/ 14 h 16"/>
                <a:gd name="T10" fmla="*/ 0 w 42"/>
                <a:gd name="T11" fmla="*/ 16 h 16"/>
                <a:gd name="T12" fmla="*/ 41 w 42"/>
                <a:gd name="T13" fmla="*/ 16 h 16"/>
                <a:gd name="T14" fmla="*/ 41 w 42"/>
                <a:gd name="T15" fmla="*/ 14 h 16"/>
                <a:gd name="T16" fmla="*/ 41 w 42"/>
                <a:gd name="T17" fmla="*/ 14 h 16"/>
                <a:gd name="T18" fmla="*/ 41 w 42"/>
                <a:gd name="T19" fmla="*/ 7 h 16"/>
                <a:gd name="T20" fmla="*/ 38 w 42"/>
                <a:gd name="T21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16">
                  <a:moveTo>
                    <a:pt x="38" y="5"/>
                  </a:moveTo>
                  <a:cubicBezTo>
                    <a:pt x="17" y="0"/>
                    <a:pt x="15" y="3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9"/>
                    <a:pt x="0" y="10"/>
                  </a:cubicBezTo>
                  <a:cubicBezTo>
                    <a:pt x="0" y="11"/>
                    <a:pt x="0" y="13"/>
                    <a:pt x="0" y="14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6"/>
                    <a:pt x="41" y="15"/>
                    <a:pt x="41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2"/>
                    <a:pt x="41" y="9"/>
                    <a:pt x="41" y="7"/>
                  </a:cubicBezTo>
                  <a:cubicBezTo>
                    <a:pt x="38" y="7"/>
                    <a:pt x="42" y="6"/>
                    <a:pt x="38" y="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D46C72D1-2B7C-22A7-5C46-6CA3C51028B8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1554163" y="4900613"/>
              <a:ext cx="134938" cy="57150"/>
            </a:xfrm>
            <a:custGeom>
              <a:avLst/>
              <a:gdLst>
                <a:gd name="T0" fmla="*/ 3 w 40"/>
                <a:gd name="T1" fmla="*/ 6 h 17"/>
                <a:gd name="T2" fmla="*/ 0 w 40"/>
                <a:gd name="T3" fmla="*/ 7 h 17"/>
                <a:gd name="T4" fmla="*/ 0 w 40"/>
                <a:gd name="T5" fmla="*/ 15 h 17"/>
                <a:gd name="T6" fmla="*/ 0 w 40"/>
                <a:gd name="T7" fmla="*/ 15 h 17"/>
                <a:gd name="T8" fmla="*/ 0 w 40"/>
                <a:gd name="T9" fmla="*/ 17 h 17"/>
                <a:gd name="T10" fmla="*/ 40 w 40"/>
                <a:gd name="T11" fmla="*/ 17 h 17"/>
                <a:gd name="T12" fmla="*/ 40 w 40"/>
                <a:gd name="T13" fmla="*/ 15 h 17"/>
                <a:gd name="T14" fmla="*/ 40 w 40"/>
                <a:gd name="T15" fmla="*/ 15 h 17"/>
                <a:gd name="T16" fmla="*/ 40 w 40"/>
                <a:gd name="T17" fmla="*/ 8 h 17"/>
                <a:gd name="T18" fmla="*/ 3 w 40"/>
                <a:gd name="T19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17">
                  <a:moveTo>
                    <a:pt x="3" y="6"/>
                  </a:moveTo>
                  <a:cubicBezTo>
                    <a:pt x="0" y="7"/>
                    <a:pt x="3" y="7"/>
                    <a:pt x="0" y="7"/>
                  </a:cubicBezTo>
                  <a:cubicBezTo>
                    <a:pt x="0" y="10"/>
                    <a:pt x="0" y="12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6"/>
                    <a:pt x="40" y="15"/>
                    <a:pt x="40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0" y="12"/>
                    <a:pt x="40" y="10"/>
                    <a:pt x="40" y="8"/>
                  </a:cubicBezTo>
                  <a:cubicBezTo>
                    <a:pt x="26" y="4"/>
                    <a:pt x="23" y="0"/>
                    <a:pt x="3" y="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8" name="Freeform 34">
              <a:extLst>
                <a:ext uri="{FF2B5EF4-FFF2-40B4-BE49-F238E27FC236}">
                  <a16:creationId xmlns:a16="http://schemas.microsoft.com/office/drawing/2014/main" id="{3B749A5D-3766-7464-F8A0-BCAD40D32619}"/>
                </a:ext>
              </a:extLst>
            </p:cNvPr>
            <p:cNvSpPr>
              <a:spLocks noEditPoints="1"/>
            </p:cNvSpPr>
            <p:nvPr>
              <p:custDataLst>
                <p:tags r:id="rId17"/>
              </p:custDataLst>
            </p:nvPr>
          </p:nvSpPr>
          <p:spPr bwMode="auto">
            <a:xfrm>
              <a:off x="1101726" y="2601913"/>
              <a:ext cx="496888" cy="198438"/>
            </a:xfrm>
            <a:custGeom>
              <a:avLst/>
              <a:gdLst>
                <a:gd name="T0" fmla="*/ 141 w 148"/>
                <a:gd name="T1" fmla="*/ 25 h 59"/>
                <a:gd name="T2" fmla="*/ 129 w 148"/>
                <a:gd name="T3" fmla="*/ 2 h 59"/>
                <a:gd name="T4" fmla="*/ 117 w 148"/>
                <a:gd name="T5" fmla="*/ 1 h 59"/>
                <a:gd name="T6" fmla="*/ 33 w 148"/>
                <a:gd name="T7" fmla="*/ 1 h 59"/>
                <a:gd name="T8" fmla="*/ 10 w 148"/>
                <a:gd name="T9" fmla="*/ 25 h 59"/>
                <a:gd name="T10" fmla="*/ 31 w 148"/>
                <a:gd name="T11" fmla="*/ 56 h 59"/>
                <a:gd name="T12" fmla="*/ 44 w 148"/>
                <a:gd name="T13" fmla="*/ 59 h 59"/>
                <a:gd name="T14" fmla="*/ 75 w 148"/>
                <a:gd name="T15" fmla="*/ 39 h 59"/>
                <a:gd name="T16" fmla="*/ 106 w 148"/>
                <a:gd name="T17" fmla="*/ 59 h 59"/>
                <a:gd name="T18" fmla="*/ 106 w 148"/>
                <a:gd name="T19" fmla="*/ 59 h 59"/>
                <a:gd name="T20" fmla="*/ 126 w 148"/>
                <a:gd name="T21" fmla="*/ 53 h 59"/>
                <a:gd name="T22" fmla="*/ 141 w 148"/>
                <a:gd name="T23" fmla="*/ 25 h 59"/>
                <a:gd name="T24" fmla="*/ 106 w 148"/>
                <a:gd name="T25" fmla="*/ 52 h 59"/>
                <a:gd name="T26" fmla="*/ 79 w 148"/>
                <a:gd name="T27" fmla="*/ 25 h 59"/>
                <a:gd name="T28" fmla="*/ 75 w 148"/>
                <a:gd name="T29" fmla="*/ 21 h 59"/>
                <a:gd name="T30" fmla="*/ 72 w 148"/>
                <a:gd name="T31" fmla="*/ 25 h 59"/>
                <a:gd name="T32" fmla="*/ 44 w 148"/>
                <a:gd name="T33" fmla="*/ 52 h 59"/>
                <a:gd name="T34" fmla="*/ 17 w 148"/>
                <a:gd name="T35" fmla="*/ 25 h 59"/>
                <a:gd name="T36" fmla="*/ 33 w 148"/>
                <a:gd name="T37" fmla="*/ 8 h 59"/>
                <a:gd name="T38" fmla="*/ 117 w 148"/>
                <a:gd name="T39" fmla="*/ 8 h 59"/>
                <a:gd name="T40" fmla="*/ 134 w 148"/>
                <a:gd name="T41" fmla="*/ 25 h 59"/>
                <a:gd name="T42" fmla="*/ 106 w 148"/>
                <a:gd name="T43" fmla="*/ 5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8" h="59">
                  <a:moveTo>
                    <a:pt x="141" y="25"/>
                  </a:moveTo>
                  <a:cubicBezTo>
                    <a:pt x="141" y="14"/>
                    <a:pt x="148" y="5"/>
                    <a:pt x="129" y="2"/>
                  </a:cubicBezTo>
                  <a:cubicBezTo>
                    <a:pt x="126" y="2"/>
                    <a:pt x="122" y="1"/>
                    <a:pt x="117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0" y="0"/>
                    <a:pt x="10" y="12"/>
                    <a:pt x="10" y="25"/>
                  </a:cubicBezTo>
                  <a:cubicBezTo>
                    <a:pt x="10" y="39"/>
                    <a:pt x="19" y="51"/>
                    <a:pt x="31" y="56"/>
                  </a:cubicBezTo>
                  <a:cubicBezTo>
                    <a:pt x="35" y="58"/>
                    <a:pt x="40" y="59"/>
                    <a:pt x="44" y="59"/>
                  </a:cubicBezTo>
                  <a:cubicBezTo>
                    <a:pt x="58" y="59"/>
                    <a:pt x="70" y="51"/>
                    <a:pt x="75" y="39"/>
                  </a:cubicBezTo>
                  <a:cubicBezTo>
                    <a:pt x="81" y="51"/>
                    <a:pt x="93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14" y="59"/>
                    <a:pt x="120" y="57"/>
                    <a:pt x="126" y="53"/>
                  </a:cubicBezTo>
                  <a:cubicBezTo>
                    <a:pt x="135" y="46"/>
                    <a:pt x="141" y="36"/>
                    <a:pt x="141" y="25"/>
                  </a:cubicBezTo>
                  <a:close/>
                  <a:moveTo>
                    <a:pt x="106" y="52"/>
                  </a:moveTo>
                  <a:cubicBezTo>
                    <a:pt x="91" y="52"/>
                    <a:pt x="79" y="40"/>
                    <a:pt x="79" y="25"/>
                  </a:cubicBezTo>
                  <a:cubicBezTo>
                    <a:pt x="79" y="23"/>
                    <a:pt x="77" y="21"/>
                    <a:pt x="75" y="21"/>
                  </a:cubicBezTo>
                  <a:cubicBezTo>
                    <a:pt x="73" y="21"/>
                    <a:pt x="72" y="23"/>
                    <a:pt x="72" y="25"/>
                  </a:cubicBezTo>
                  <a:cubicBezTo>
                    <a:pt x="72" y="40"/>
                    <a:pt x="60" y="52"/>
                    <a:pt x="44" y="52"/>
                  </a:cubicBezTo>
                  <a:cubicBezTo>
                    <a:pt x="29" y="52"/>
                    <a:pt x="17" y="40"/>
                    <a:pt x="17" y="25"/>
                  </a:cubicBezTo>
                  <a:cubicBezTo>
                    <a:pt x="17" y="15"/>
                    <a:pt x="24" y="8"/>
                    <a:pt x="33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26" y="8"/>
                    <a:pt x="134" y="15"/>
                    <a:pt x="134" y="25"/>
                  </a:cubicBezTo>
                  <a:cubicBezTo>
                    <a:pt x="134" y="40"/>
                    <a:pt x="122" y="52"/>
                    <a:pt x="106" y="5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9" name="Freeform 35">
              <a:extLst>
                <a:ext uri="{FF2B5EF4-FFF2-40B4-BE49-F238E27FC236}">
                  <a16:creationId xmlns:a16="http://schemas.microsoft.com/office/drawing/2014/main" id="{3CF80322-A9DA-58C0-C6F8-0ABE6D3BAAA9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1249363" y="2673351"/>
              <a:ext cx="36513" cy="39688"/>
            </a:xfrm>
            <a:custGeom>
              <a:avLst/>
              <a:gdLst>
                <a:gd name="T0" fmla="*/ 8 w 11"/>
                <a:gd name="T1" fmla="*/ 11 h 12"/>
                <a:gd name="T2" fmla="*/ 10 w 11"/>
                <a:gd name="T3" fmla="*/ 4 h 12"/>
                <a:gd name="T4" fmla="*/ 3 w 11"/>
                <a:gd name="T5" fmla="*/ 2 h 12"/>
                <a:gd name="T6" fmla="*/ 1 w 11"/>
                <a:gd name="T7" fmla="*/ 8 h 12"/>
                <a:gd name="T8" fmla="*/ 8 w 11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8" y="11"/>
                  </a:moveTo>
                  <a:cubicBezTo>
                    <a:pt x="10" y="10"/>
                    <a:pt x="11" y="7"/>
                    <a:pt x="10" y="4"/>
                  </a:cubicBezTo>
                  <a:cubicBezTo>
                    <a:pt x="9" y="1"/>
                    <a:pt x="6" y="0"/>
                    <a:pt x="3" y="2"/>
                  </a:cubicBezTo>
                  <a:cubicBezTo>
                    <a:pt x="1" y="3"/>
                    <a:pt x="0" y="6"/>
                    <a:pt x="1" y="8"/>
                  </a:cubicBezTo>
                  <a:cubicBezTo>
                    <a:pt x="2" y="11"/>
                    <a:pt x="5" y="12"/>
                    <a:pt x="8" y="1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0" name="Freeform 36">
              <a:extLst>
                <a:ext uri="{FF2B5EF4-FFF2-40B4-BE49-F238E27FC236}">
                  <a16:creationId xmlns:a16="http://schemas.microsoft.com/office/drawing/2014/main" id="{5A617AC2-8CAA-5390-C739-B86639680236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1427163" y="2673351"/>
              <a:ext cx="39688" cy="39688"/>
            </a:xfrm>
            <a:custGeom>
              <a:avLst/>
              <a:gdLst>
                <a:gd name="T0" fmla="*/ 11 w 12"/>
                <a:gd name="T1" fmla="*/ 4 h 12"/>
                <a:gd name="T2" fmla="*/ 4 w 12"/>
                <a:gd name="T3" fmla="*/ 2 h 12"/>
                <a:gd name="T4" fmla="*/ 1 w 12"/>
                <a:gd name="T5" fmla="*/ 8 h 12"/>
                <a:gd name="T6" fmla="*/ 8 w 12"/>
                <a:gd name="T7" fmla="*/ 11 h 12"/>
                <a:gd name="T8" fmla="*/ 11 w 12"/>
                <a:gd name="T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1" y="4"/>
                  </a:moveTo>
                  <a:cubicBezTo>
                    <a:pt x="9" y="1"/>
                    <a:pt x="6" y="0"/>
                    <a:pt x="4" y="2"/>
                  </a:cubicBezTo>
                  <a:cubicBezTo>
                    <a:pt x="1" y="3"/>
                    <a:pt x="0" y="6"/>
                    <a:pt x="1" y="8"/>
                  </a:cubicBezTo>
                  <a:cubicBezTo>
                    <a:pt x="3" y="11"/>
                    <a:pt x="6" y="12"/>
                    <a:pt x="8" y="11"/>
                  </a:cubicBezTo>
                  <a:cubicBezTo>
                    <a:pt x="11" y="10"/>
                    <a:pt x="12" y="7"/>
                    <a:pt x="11" y="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88287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5CC9F92-A8AD-3236-DC7D-979FB18E364D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623392" y="1506557"/>
            <a:ext cx="8280424" cy="4621193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CCF765-6B5E-52EB-9952-76831143238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23888" y="6381750"/>
            <a:ext cx="7472362" cy="195282"/>
          </a:xfrm>
        </p:spPr>
        <p:txBody>
          <a:bodyPr/>
          <a:lstStyle/>
          <a:p>
            <a:r>
              <a:rPr lang="en-US" dirty="0"/>
              <a:t>Manitz et al. | ML Pipeline for Clinical Trial Data | 25.05.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4A72D4-C545-8B86-E19E-2E9BE1EBE7E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81750"/>
            <a:ext cx="647700" cy="215900"/>
          </a:xfrm>
        </p:spPr>
        <p:txBody>
          <a:bodyPr/>
          <a:lstStyle/>
          <a:p>
            <a:fld id="{FD5E7EB4-4CDF-47BB-AF16-07782904B86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B5852E-AE8C-2C47-F76E-9056EC74056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3888" y="730250"/>
            <a:ext cx="9696450" cy="327025"/>
          </a:xfrm>
        </p:spPr>
        <p:txBody>
          <a:bodyPr/>
          <a:lstStyle/>
          <a:p>
            <a:r>
              <a:rPr lang="en-US" dirty="0"/>
              <a:t>You Want to Know more Details? </a:t>
            </a:r>
          </a:p>
        </p:txBody>
      </p:sp>
      <p:sp>
        <p:nvSpPr>
          <p:cNvPr id="33" name="girl_magnifier">
            <a:extLst>
              <a:ext uri="{FF2B5EF4-FFF2-40B4-BE49-F238E27FC236}">
                <a16:creationId xmlns:a16="http://schemas.microsoft.com/office/drawing/2014/main" id="{6BEC362D-9857-0486-537D-CA39DF369191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0706677" y="3665043"/>
            <a:ext cx="201629" cy="160685"/>
          </a:xfrm>
          <a:custGeom>
            <a:avLst/>
            <a:gdLst>
              <a:gd name="T0" fmla="*/ 29 w 64"/>
              <a:gd name="T1" fmla="*/ 36 h 51"/>
              <a:gd name="T2" fmla="*/ 22 w 64"/>
              <a:gd name="T3" fmla="*/ 30 h 51"/>
              <a:gd name="T4" fmla="*/ 18 w 64"/>
              <a:gd name="T5" fmla="*/ 26 h 51"/>
              <a:gd name="T6" fmla="*/ 11 w 64"/>
              <a:gd name="T7" fmla="*/ 18 h 51"/>
              <a:gd name="T8" fmla="*/ 7 w 64"/>
              <a:gd name="T9" fmla="*/ 13 h 51"/>
              <a:gd name="T10" fmla="*/ 6 w 64"/>
              <a:gd name="T11" fmla="*/ 11 h 51"/>
              <a:gd name="T12" fmla="*/ 6 w 64"/>
              <a:gd name="T13" fmla="*/ 10 h 51"/>
              <a:gd name="T14" fmla="*/ 1 w 64"/>
              <a:gd name="T15" fmla="*/ 1 h 51"/>
              <a:gd name="T16" fmla="*/ 0 w 64"/>
              <a:gd name="T17" fmla="*/ 0 h 51"/>
              <a:gd name="T18" fmla="*/ 5 w 64"/>
              <a:gd name="T19" fmla="*/ 10 h 51"/>
              <a:gd name="T20" fmla="*/ 7 w 64"/>
              <a:gd name="T21" fmla="*/ 14 h 51"/>
              <a:gd name="T22" fmla="*/ 10 w 64"/>
              <a:gd name="T23" fmla="*/ 18 h 51"/>
              <a:gd name="T24" fmla="*/ 17 w 64"/>
              <a:gd name="T25" fmla="*/ 26 h 51"/>
              <a:gd name="T26" fmla="*/ 22 w 64"/>
              <a:gd name="T27" fmla="*/ 31 h 51"/>
              <a:gd name="T28" fmla="*/ 29 w 64"/>
              <a:gd name="T29" fmla="*/ 36 h 51"/>
              <a:gd name="T30" fmla="*/ 63 w 64"/>
              <a:gd name="T31" fmla="*/ 51 h 51"/>
              <a:gd name="T32" fmla="*/ 64 w 64"/>
              <a:gd name="T33" fmla="*/ 51 h 51"/>
              <a:gd name="T34" fmla="*/ 29 w 64"/>
              <a:gd name="T35" fmla="*/ 36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4" h="51">
                <a:moveTo>
                  <a:pt x="29" y="36"/>
                </a:moveTo>
                <a:cubicBezTo>
                  <a:pt x="26" y="34"/>
                  <a:pt x="24" y="32"/>
                  <a:pt x="22" y="30"/>
                </a:cubicBezTo>
                <a:cubicBezTo>
                  <a:pt x="20" y="29"/>
                  <a:pt x="19" y="27"/>
                  <a:pt x="18" y="26"/>
                </a:cubicBezTo>
                <a:cubicBezTo>
                  <a:pt x="15" y="23"/>
                  <a:pt x="13" y="21"/>
                  <a:pt x="11" y="18"/>
                </a:cubicBezTo>
                <a:cubicBezTo>
                  <a:pt x="10" y="16"/>
                  <a:pt x="8" y="15"/>
                  <a:pt x="7" y="13"/>
                </a:cubicBezTo>
                <a:cubicBezTo>
                  <a:pt x="6" y="11"/>
                  <a:pt x="6" y="11"/>
                  <a:pt x="6" y="11"/>
                </a:cubicBezTo>
                <a:cubicBezTo>
                  <a:pt x="6" y="11"/>
                  <a:pt x="6" y="10"/>
                  <a:pt x="6" y="10"/>
                </a:cubicBezTo>
                <a:cubicBezTo>
                  <a:pt x="4" y="7"/>
                  <a:pt x="2" y="4"/>
                  <a:pt x="1" y="1"/>
                </a:cubicBezTo>
                <a:cubicBezTo>
                  <a:pt x="1" y="1"/>
                  <a:pt x="0" y="0"/>
                  <a:pt x="0" y="0"/>
                </a:cubicBezTo>
                <a:cubicBezTo>
                  <a:pt x="2" y="4"/>
                  <a:pt x="3" y="7"/>
                  <a:pt x="5" y="10"/>
                </a:cubicBezTo>
                <a:cubicBezTo>
                  <a:pt x="7" y="14"/>
                  <a:pt x="7" y="14"/>
                  <a:pt x="7" y="14"/>
                </a:cubicBezTo>
                <a:cubicBezTo>
                  <a:pt x="8" y="15"/>
                  <a:pt x="9" y="17"/>
                  <a:pt x="10" y="18"/>
                </a:cubicBezTo>
                <a:cubicBezTo>
                  <a:pt x="13" y="21"/>
                  <a:pt x="15" y="24"/>
                  <a:pt x="17" y="26"/>
                </a:cubicBezTo>
                <a:cubicBezTo>
                  <a:pt x="19" y="28"/>
                  <a:pt x="20" y="29"/>
                  <a:pt x="22" y="31"/>
                </a:cubicBezTo>
                <a:cubicBezTo>
                  <a:pt x="24" y="33"/>
                  <a:pt x="26" y="35"/>
                  <a:pt x="29" y="36"/>
                </a:cubicBezTo>
                <a:cubicBezTo>
                  <a:pt x="39" y="44"/>
                  <a:pt x="51" y="49"/>
                  <a:pt x="63" y="51"/>
                </a:cubicBezTo>
                <a:cubicBezTo>
                  <a:pt x="64" y="51"/>
                  <a:pt x="64" y="51"/>
                  <a:pt x="64" y="51"/>
                </a:cubicBezTo>
                <a:cubicBezTo>
                  <a:pt x="51" y="48"/>
                  <a:pt x="39" y="43"/>
                  <a:pt x="29" y="36"/>
                </a:cubicBezTo>
                <a:close/>
              </a:path>
            </a:pathLst>
          </a:custGeom>
          <a:solidFill>
            <a:srgbClr val="2DBE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girl_magnifier">
            <a:extLst>
              <a:ext uri="{FF2B5EF4-FFF2-40B4-BE49-F238E27FC236}">
                <a16:creationId xmlns:a16="http://schemas.microsoft.com/office/drawing/2014/main" id="{4827B35C-19BC-7E65-4B98-26D230E77371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10640240" y="3791737"/>
            <a:ext cx="245663" cy="207809"/>
          </a:xfrm>
          <a:custGeom>
            <a:avLst/>
            <a:gdLst>
              <a:gd name="T0" fmla="*/ 43 w 78"/>
              <a:gd name="T1" fmla="*/ 0 h 66"/>
              <a:gd name="T2" fmla="*/ 0 w 78"/>
              <a:gd name="T3" fmla="*/ 46 h 66"/>
              <a:gd name="T4" fmla="*/ 20 w 78"/>
              <a:gd name="T5" fmla="*/ 65 h 66"/>
              <a:gd name="T6" fmla="*/ 23 w 78"/>
              <a:gd name="T7" fmla="*/ 66 h 66"/>
              <a:gd name="T8" fmla="*/ 25 w 78"/>
              <a:gd name="T9" fmla="*/ 66 h 66"/>
              <a:gd name="T10" fmla="*/ 25 w 78"/>
              <a:gd name="T11" fmla="*/ 66 h 66"/>
              <a:gd name="T12" fmla="*/ 27 w 78"/>
              <a:gd name="T13" fmla="*/ 64 h 66"/>
              <a:gd name="T14" fmla="*/ 69 w 78"/>
              <a:gd name="T15" fmla="*/ 26 h 66"/>
              <a:gd name="T16" fmla="*/ 78 w 78"/>
              <a:gd name="T17" fmla="*/ 17 h 66"/>
              <a:gd name="T18" fmla="*/ 43 w 78"/>
              <a:gd name="T19" fmla="*/ 0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8" h="66">
                <a:moveTo>
                  <a:pt x="43" y="0"/>
                </a:moveTo>
                <a:cubicBezTo>
                  <a:pt x="0" y="46"/>
                  <a:pt x="0" y="46"/>
                  <a:pt x="0" y="46"/>
                </a:cubicBezTo>
                <a:cubicBezTo>
                  <a:pt x="8" y="52"/>
                  <a:pt x="14" y="59"/>
                  <a:pt x="20" y="65"/>
                </a:cubicBezTo>
                <a:cubicBezTo>
                  <a:pt x="21" y="65"/>
                  <a:pt x="22" y="66"/>
                  <a:pt x="23" y="66"/>
                </a:cubicBezTo>
                <a:cubicBezTo>
                  <a:pt x="24" y="66"/>
                  <a:pt x="24" y="66"/>
                  <a:pt x="25" y="66"/>
                </a:cubicBezTo>
                <a:cubicBezTo>
                  <a:pt x="25" y="66"/>
                  <a:pt x="25" y="66"/>
                  <a:pt x="25" y="66"/>
                </a:cubicBezTo>
                <a:cubicBezTo>
                  <a:pt x="27" y="64"/>
                  <a:pt x="27" y="64"/>
                  <a:pt x="27" y="64"/>
                </a:cubicBezTo>
                <a:cubicBezTo>
                  <a:pt x="69" y="26"/>
                  <a:pt x="69" y="26"/>
                  <a:pt x="69" y="26"/>
                </a:cubicBezTo>
                <a:cubicBezTo>
                  <a:pt x="78" y="17"/>
                  <a:pt x="78" y="17"/>
                  <a:pt x="78" y="17"/>
                </a:cubicBezTo>
                <a:cubicBezTo>
                  <a:pt x="65" y="14"/>
                  <a:pt x="53" y="8"/>
                  <a:pt x="43" y="0"/>
                </a:cubicBezTo>
                <a:close/>
              </a:path>
            </a:pathLst>
          </a:custGeom>
          <a:solidFill>
            <a:srgbClr val="2DBE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girl_magnifier">
            <a:extLst>
              <a:ext uri="{FF2B5EF4-FFF2-40B4-BE49-F238E27FC236}">
                <a16:creationId xmlns:a16="http://schemas.microsoft.com/office/drawing/2014/main" id="{C0682A5E-CA2D-D3BA-48F7-F80AED13FA7B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0606249" y="3763154"/>
            <a:ext cx="144462" cy="148325"/>
          </a:xfrm>
          <a:custGeom>
            <a:avLst/>
            <a:gdLst>
              <a:gd name="T0" fmla="*/ 44 w 46"/>
              <a:gd name="T1" fmla="*/ 0 h 47"/>
              <a:gd name="T2" fmla="*/ 46 w 46"/>
              <a:gd name="T3" fmla="*/ 2 h 47"/>
              <a:gd name="T4" fmla="*/ 44 w 46"/>
              <a:gd name="T5" fmla="*/ 0 h 47"/>
              <a:gd name="T6" fmla="*/ 0 w 46"/>
              <a:gd name="T7" fmla="*/ 47 h 47"/>
              <a:gd name="T8" fmla="*/ 1 w 46"/>
              <a:gd name="T9" fmla="*/ 47 h 47"/>
              <a:gd name="T10" fmla="*/ 44 w 46"/>
              <a:gd name="T11" fmla="*/ 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6" h="47">
                <a:moveTo>
                  <a:pt x="44" y="0"/>
                </a:moveTo>
                <a:cubicBezTo>
                  <a:pt x="46" y="2"/>
                  <a:pt x="46" y="2"/>
                  <a:pt x="46" y="2"/>
                </a:cubicBezTo>
                <a:cubicBezTo>
                  <a:pt x="44" y="0"/>
                  <a:pt x="44" y="0"/>
                  <a:pt x="44" y="0"/>
                </a:cubicBezTo>
                <a:cubicBezTo>
                  <a:pt x="0" y="47"/>
                  <a:pt x="0" y="47"/>
                  <a:pt x="0" y="47"/>
                </a:cubicBezTo>
                <a:cubicBezTo>
                  <a:pt x="1" y="47"/>
                  <a:pt x="1" y="47"/>
                  <a:pt x="1" y="47"/>
                </a:cubicBezTo>
                <a:lnTo>
                  <a:pt x="44" y="0"/>
                </a:lnTo>
                <a:close/>
              </a:path>
            </a:pathLst>
          </a:custGeom>
          <a:solidFill>
            <a:srgbClr val="2DBE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" name="girl_magnifier">
            <a:extLst>
              <a:ext uri="{FF2B5EF4-FFF2-40B4-BE49-F238E27FC236}">
                <a16:creationId xmlns:a16="http://schemas.microsoft.com/office/drawing/2014/main" id="{42AF494F-A002-291C-5095-E84B1F1A0B0C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709767" y="3119641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4E7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7" name="girl_magnifier">
            <a:extLst>
              <a:ext uri="{FF2B5EF4-FFF2-40B4-BE49-F238E27FC236}">
                <a16:creationId xmlns:a16="http://schemas.microsoft.com/office/drawing/2014/main" id="{319A0CBF-97E7-332F-E371-88B9BA79501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0687364" y="3343673"/>
            <a:ext cx="60257" cy="201629"/>
          </a:xfrm>
          <a:custGeom>
            <a:avLst/>
            <a:gdLst>
              <a:gd name="T0" fmla="*/ 4 w 19"/>
              <a:gd name="T1" fmla="*/ 35 h 64"/>
              <a:gd name="T2" fmla="*/ 19 w 19"/>
              <a:gd name="T3" fmla="*/ 0 h 64"/>
              <a:gd name="T4" fmla="*/ 4 w 19"/>
              <a:gd name="T5" fmla="*/ 36 h 64"/>
              <a:gd name="T6" fmla="*/ 0 w 19"/>
              <a:gd name="T7" fmla="*/ 64 h 64"/>
              <a:gd name="T8" fmla="*/ 0 w 19"/>
              <a:gd name="T9" fmla="*/ 64 h 64"/>
              <a:gd name="T10" fmla="*/ 4 w 19"/>
              <a:gd name="T11" fmla="*/ 35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" h="64">
                <a:moveTo>
                  <a:pt x="4" y="35"/>
                </a:moveTo>
                <a:cubicBezTo>
                  <a:pt x="8" y="23"/>
                  <a:pt x="13" y="11"/>
                  <a:pt x="19" y="0"/>
                </a:cubicBezTo>
                <a:cubicBezTo>
                  <a:pt x="13" y="11"/>
                  <a:pt x="8" y="23"/>
                  <a:pt x="4" y="36"/>
                </a:cubicBezTo>
                <a:cubicBezTo>
                  <a:pt x="1" y="46"/>
                  <a:pt x="0" y="55"/>
                  <a:pt x="0" y="64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55"/>
                  <a:pt x="2" y="45"/>
                  <a:pt x="4" y="35"/>
                </a:cubicBezTo>
                <a:close/>
              </a:path>
            </a:pathLst>
          </a:custGeom>
          <a:solidFill>
            <a:srgbClr val="F4E7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8" name="girl_magnifier">
            <a:extLst>
              <a:ext uri="{FF2B5EF4-FFF2-40B4-BE49-F238E27FC236}">
                <a16:creationId xmlns:a16="http://schemas.microsoft.com/office/drawing/2014/main" id="{757FE805-192F-5E22-84F8-5CDB991A27C1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0687364" y="3217751"/>
            <a:ext cx="163775" cy="336821"/>
          </a:xfrm>
          <a:custGeom>
            <a:avLst/>
            <a:gdLst>
              <a:gd name="T0" fmla="*/ 0 w 52"/>
              <a:gd name="T1" fmla="*/ 104 h 107"/>
              <a:gd name="T2" fmla="*/ 0 w 52"/>
              <a:gd name="T3" fmla="*/ 107 h 107"/>
              <a:gd name="T4" fmla="*/ 4 w 52"/>
              <a:gd name="T5" fmla="*/ 76 h 107"/>
              <a:gd name="T6" fmla="*/ 52 w 52"/>
              <a:gd name="T7" fmla="*/ 0 h 107"/>
              <a:gd name="T8" fmla="*/ 19 w 52"/>
              <a:gd name="T9" fmla="*/ 40 h 107"/>
              <a:gd name="T10" fmla="*/ 4 w 52"/>
              <a:gd name="T11" fmla="*/ 75 h 107"/>
              <a:gd name="T12" fmla="*/ 0 w 52"/>
              <a:gd name="T13" fmla="*/ 104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" h="107">
                <a:moveTo>
                  <a:pt x="0" y="104"/>
                </a:moveTo>
                <a:cubicBezTo>
                  <a:pt x="0" y="105"/>
                  <a:pt x="0" y="106"/>
                  <a:pt x="0" y="107"/>
                </a:cubicBezTo>
                <a:cubicBezTo>
                  <a:pt x="0" y="97"/>
                  <a:pt x="1" y="87"/>
                  <a:pt x="4" y="76"/>
                </a:cubicBezTo>
                <a:cubicBezTo>
                  <a:pt x="13" y="46"/>
                  <a:pt x="29" y="20"/>
                  <a:pt x="52" y="0"/>
                </a:cubicBezTo>
                <a:cubicBezTo>
                  <a:pt x="39" y="11"/>
                  <a:pt x="28" y="25"/>
                  <a:pt x="19" y="40"/>
                </a:cubicBezTo>
                <a:cubicBezTo>
                  <a:pt x="13" y="51"/>
                  <a:pt x="8" y="63"/>
                  <a:pt x="4" y="75"/>
                </a:cubicBezTo>
                <a:cubicBezTo>
                  <a:pt x="2" y="85"/>
                  <a:pt x="0" y="95"/>
                  <a:pt x="0" y="104"/>
                </a:cubicBezTo>
                <a:close/>
              </a:path>
            </a:pathLst>
          </a:custGeom>
          <a:solidFill>
            <a:srgbClr val="5032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9" name="girl_magnifier">
            <a:extLst>
              <a:ext uri="{FF2B5EF4-FFF2-40B4-BE49-F238E27FC236}">
                <a16:creationId xmlns:a16="http://schemas.microsoft.com/office/drawing/2014/main" id="{39E907B8-724C-D10B-133A-A00101BC62D0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488406" y="3255605"/>
            <a:ext cx="1844790" cy="1661701"/>
            <a:chOff x="908598" y="2274064"/>
            <a:chExt cx="1844790" cy="1661701"/>
          </a:xfrm>
        </p:grpSpPr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EB489E01-0DCC-EC60-7C1A-E1DB73FED3DE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908598" y="2557581"/>
              <a:ext cx="1195868" cy="1378184"/>
            </a:xfrm>
            <a:custGeom>
              <a:avLst/>
              <a:gdLst>
                <a:gd name="T0" fmla="*/ 242 w 380"/>
                <a:gd name="T1" fmla="*/ 203 h 437"/>
                <a:gd name="T2" fmla="*/ 243 w 380"/>
                <a:gd name="T3" fmla="*/ 203 h 437"/>
                <a:gd name="T4" fmla="*/ 261 w 380"/>
                <a:gd name="T5" fmla="*/ 220 h 437"/>
                <a:gd name="T6" fmla="*/ 261 w 380"/>
                <a:gd name="T7" fmla="*/ 220 h 437"/>
                <a:gd name="T8" fmla="*/ 261 w 380"/>
                <a:gd name="T9" fmla="*/ 220 h 437"/>
                <a:gd name="T10" fmla="*/ 261 w 380"/>
                <a:gd name="T11" fmla="*/ 220 h 437"/>
                <a:gd name="T12" fmla="*/ 302 w 380"/>
                <a:gd name="T13" fmla="*/ 176 h 437"/>
                <a:gd name="T14" fmla="*/ 302 w 380"/>
                <a:gd name="T15" fmla="*/ 176 h 437"/>
                <a:gd name="T16" fmla="*/ 262 w 380"/>
                <a:gd name="T17" fmla="*/ 220 h 437"/>
                <a:gd name="T18" fmla="*/ 262 w 380"/>
                <a:gd name="T19" fmla="*/ 220 h 437"/>
                <a:gd name="T20" fmla="*/ 261 w 380"/>
                <a:gd name="T21" fmla="*/ 219 h 437"/>
                <a:gd name="T22" fmla="*/ 243 w 380"/>
                <a:gd name="T23" fmla="*/ 203 h 437"/>
                <a:gd name="T24" fmla="*/ 243 w 380"/>
                <a:gd name="T25" fmla="*/ 202 h 437"/>
                <a:gd name="T26" fmla="*/ 314 w 380"/>
                <a:gd name="T27" fmla="*/ 124 h 437"/>
                <a:gd name="T28" fmla="*/ 322 w 380"/>
                <a:gd name="T29" fmla="*/ 99 h 437"/>
                <a:gd name="T30" fmla="*/ 333 w 380"/>
                <a:gd name="T31" fmla="*/ 104 h 437"/>
                <a:gd name="T32" fmla="*/ 380 w 380"/>
                <a:gd name="T33" fmla="*/ 53 h 437"/>
                <a:gd name="T34" fmla="*/ 358 w 380"/>
                <a:gd name="T35" fmla="*/ 32 h 437"/>
                <a:gd name="T36" fmla="*/ 351 w 380"/>
                <a:gd name="T37" fmla="*/ 21 h 437"/>
                <a:gd name="T38" fmla="*/ 336 w 380"/>
                <a:gd name="T39" fmla="*/ 15 h 437"/>
                <a:gd name="T40" fmla="*/ 283 w 380"/>
                <a:gd name="T41" fmla="*/ 0 h 437"/>
                <a:gd name="T42" fmla="*/ 257 w 380"/>
                <a:gd name="T43" fmla="*/ 2 h 437"/>
                <a:gd name="T44" fmla="*/ 257 w 380"/>
                <a:gd name="T45" fmla="*/ 13 h 437"/>
                <a:gd name="T46" fmla="*/ 249 w 380"/>
                <a:gd name="T47" fmla="*/ 2 h 437"/>
                <a:gd name="T48" fmla="*/ 181 w 380"/>
                <a:gd name="T49" fmla="*/ 7 h 437"/>
                <a:gd name="T50" fmla="*/ 116 w 380"/>
                <a:gd name="T51" fmla="*/ 23 h 437"/>
                <a:gd name="T52" fmla="*/ 13 w 380"/>
                <a:gd name="T53" fmla="*/ 67 h 437"/>
                <a:gd name="T54" fmla="*/ 21 w 380"/>
                <a:gd name="T55" fmla="*/ 83 h 437"/>
                <a:gd name="T56" fmla="*/ 49 w 380"/>
                <a:gd name="T57" fmla="*/ 142 h 437"/>
                <a:gd name="T58" fmla="*/ 51 w 380"/>
                <a:gd name="T59" fmla="*/ 147 h 437"/>
                <a:gd name="T60" fmla="*/ 84 w 380"/>
                <a:gd name="T61" fmla="*/ 132 h 437"/>
                <a:gd name="T62" fmla="*/ 127 w 380"/>
                <a:gd name="T63" fmla="*/ 112 h 437"/>
                <a:gd name="T64" fmla="*/ 99 w 380"/>
                <a:gd name="T65" fmla="*/ 168 h 437"/>
                <a:gd name="T66" fmla="*/ 0 w 380"/>
                <a:gd name="T67" fmla="*/ 409 h 437"/>
                <a:gd name="T68" fmla="*/ 129 w 380"/>
                <a:gd name="T69" fmla="*/ 403 h 437"/>
                <a:gd name="T70" fmla="*/ 186 w 380"/>
                <a:gd name="T71" fmla="*/ 404 h 437"/>
                <a:gd name="T72" fmla="*/ 220 w 380"/>
                <a:gd name="T73" fmla="*/ 406 h 437"/>
                <a:gd name="T74" fmla="*/ 241 w 380"/>
                <a:gd name="T75" fmla="*/ 409 h 437"/>
                <a:gd name="T76" fmla="*/ 278 w 380"/>
                <a:gd name="T77" fmla="*/ 419 h 437"/>
                <a:gd name="T78" fmla="*/ 326 w 380"/>
                <a:gd name="T79" fmla="*/ 437 h 437"/>
                <a:gd name="T80" fmla="*/ 310 w 380"/>
                <a:gd name="T81" fmla="*/ 188 h 437"/>
                <a:gd name="T82" fmla="*/ 271 w 380"/>
                <a:gd name="T83" fmla="*/ 230 h 437"/>
                <a:gd name="T84" fmla="*/ 242 w 380"/>
                <a:gd name="T85" fmla="*/ 20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80" h="437">
                  <a:moveTo>
                    <a:pt x="242" y="203"/>
                  </a:moveTo>
                  <a:cubicBezTo>
                    <a:pt x="243" y="203"/>
                    <a:pt x="243" y="203"/>
                    <a:pt x="243" y="203"/>
                  </a:cubicBezTo>
                  <a:cubicBezTo>
                    <a:pt x="261" y="220"/>
                    <a:pt x="261" y="220"/>
                    <a:pt x="261" y="220"/>
                  </a:cubicBezTo>
                  <a:cubicBezTo>
                    <a:pt x="261" y="220"/>
                    <a:pt x="261" y="220"/>
                    <a:pt x="261" y="220"/>
                  </a:cubicBezTo>
                  <a:cubicBezTo>
                    <a:pt x="261" y="220"/>
                    <a:pt x="261" y="220"/>
                    <a:pt x="261" y="220"/>
                  </a:cubicBezTo>
                  <a:cubicBezTo>
                    <a:pt x="261" y="220"/>
                    <a:pt x="261" y="220"/>
                    <a:pt x="261" y="220"/>
                  </a:cubicBezTo>
                  <a:cubicBezTo>
                    <a:pt x="302" y="176"/>
                    <a:pt x="302" y="176"/>
                    <a:pt x="302" y="176"/>
                  </a:cubicBezTo>
                  <a:cubicBezTo>
                    <a:pt x="302" y="176"/>
                    <a:pt x="302" y="176"/>
                    <a:pt x="302" y="176"/>
                  </a:cubicBezTo>
                  <a:cubicBezTo>
                    <a:pt x="262" y="220"/>
                    <a:pt x="262" y="220"/>
                    <a:pt x="262" y="220"/>
                  </a:cubicBezTo>
                  <a:cubicBezTo>
                    <a:pt x="262" y="220"/>
                    <a:pt x="262" y="220"/>
                    <a:pt x="262" y="220"/>
                  </a:cubicBezTo>
                  <a:cubicBezTo>
                    <a:pt x="261" y="219"/>
                    <a:pt x="261" y="219"/>
                    <a:pt x="261" y="219"/>
                  </a:cubicBezTo>
                  <a:cubicBezTo>
                    <a:pt x="243" y="203"/>
                    <a:pt x="243" y="203"/>
                    <a:pt x="243" y="203"/>
                  </a:cubicBezTo>
                  <a:cubicBezTo>
                    <a:pt x="243" y="202"/>
                    <a:pt x="243" y="202"/>
                    <a:pt x="243" y="202"/>
                  </a:cubicBezTo>
                  <a:cubicBezTo>
                    <a:pt x="314" y="124"/>
                    <a:pt x="314" y="124"/>
                    <a:pt x="314" y="124"/>
                  </a:cubicBezTo>
                  <a:cubicBezTo>
                    <a:pt x="316" y="114"/>
                    <a:pt x="319" y="105"/>
                    <a:pt x="322" y="99"/>
                  </a:cubicBezTo>
                  <a:cubicBezTo>
                    <a:pt x="326" y="100"/>
                    <a:pt x="329" y="102"/>
                    <a:pt x="333" y="104"/>
                  </a:cubicBezTo>
                  <a:cubicBezTo>
                    <a:pt x="380" y="53"/>
                    <a:pt x="380" y="53"/>
                    <a:pt x="380" y="53"/>
                  </a:cubicBezTo>
                  <a:cubicBezTo>
                    <a:pt x="370" y="44"/>
                    <a:pt x="358" y="32"/>
                    <a:pt x="358" y="32"/>
                  </a:cubicBezTo>
                  <a:cubicBezTo>
                    <a:pt x="355" y="28"/>
                    <a:pt x="353" y="25"/>
                    <a:pt x="351" y="21"/>
                  </a:cubicBezTo>
                  <a:cubicBezTo>
                    <a:pt x="346" y="19"/>
                    <a:pt x="341" y="17"/>
                    <a:pt x="336" y="15"/>
                  </a:cubicBezTo>
                  <a:cubicBezTo>
                    <a:pt x="318" y="15"/>
                    <a:pt x="299" y="10"/>
                    <a:pt x="283" y="0"/>
                  </a:cubicBezTo>
                  <a:cubicBezTo>
                    <a:pt x="257" y="2"/>
                    <a:pt x="257" y="2"/>
                    <a:pt x="257" y="2"/>
                  </a:cubicBezTo>
                  <a:cubicBezTo>
                    <a:pt x="257" y="9"/>
                    <a:pt x="257" y="13"/>
                    <a:pt x="257" y="13"/>
                  </a:cubicBezTo>
                  <a:cubicBezTo>
                    <a:pt x="254" y="10"/>
                    <a:pt x="251" y="7"/>
                    <a:pt x="249" y="2"/>
                  </a:cubicBezTo>
                  <a:cubicBezTo>
                    <a:pt x="181" y="7"/>
                    <a:pt x="181" y="7"/>
                    <a:pt x="181" y="7"/>
                  </a:cubicBezTo>
                  <a:cubicBezTo>
                    <a:pt x="172" y="8"/>
                    <a:pt x="150" y="13"/>
                    <a:pt x="116" y="23"/>
                  </a:cubicBezTo>
                  <a:cubicBezTo>
                    <a:pt x="80" y="34"/>
                    <a:pt x="45" y="49"/>
                    <a:pt x="13" y="6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49" y="142"/>
                    <a:pt x="49" y="142"/>
                    <a:pt x="49" y="142"/>
                  </a:cubicBezTo>
                  <a:cubicBezTo>
                    <a:pt x="51" y="147"/>
                    <a:pt x="51" y="147"/>
                    <a:pt x="51" y="147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3" y="133"/>
                    <a:pt x="127" y="110"/>
                    <a:pt x="127" y="112"/>
                  </a:cubicBezTo>
                  <a:cubicBezTo>
                    <a:pt x="121" y="126"/>
                    <a:pt x="103" y="154"/>
                    <a:pt x="99" y="168"/>
                  </a:cubicBezTo>
                  <a:cubicBezTo>
                    <a:pt x="87" y="206"/>
                    <a:pt x="1" y="369"/>
                    <a:pt x="0" y="409"/>
                  </a:cubicBezTo>
                  <a:cubicBezTo>
                    <a:pt x="0" y="409"/>
                    <a:pt x="62" y="403"/>
                    <a:pt x="129" y="403"/>
                  </a:cubicBezTo>
                  <a:cubicBezTo>
                    <a:pt x="148" y="403"/>
                    <a:pt x="167" y="403"/>
                    <a:pt x="186" y="404"/>
                  </a:cubicBezTo>
                  <a:cubicBezTo>
                    <a:pt x="198" y="404"/>
                    <a:pt x="209" y="405"/>
                    <a:pt x="220" y="406"/>
                  </a:cubicBezTo>
                  <a:cubicBezTo>
                    <a:pt x="227" y="407"/>
                    <a:pt x="234" y="408"/>
                    <a:pt x="241" y="409"/>
                  </a:cubicBezTo>
                  <a:cubicBezTo>
                    <a:pt x="252" y="411"/>
                    <a:pt x="265" y="415"/>
                    <a:pt x="278" y="419"/>
                  </a:cubicBezTo>
                  <a:cubicBezTo>
                    <a:pt x="303" y="427"/>
                    <a:pt x="326" y="437"/>
                    <a:pt x="326" y="437"/>
                  </a:cubicBezTo>
                  <a:cubicBezTo>
                    <a:pt x="329" y="390"/>
                    <a:pt x="311" y="274"/>
                    <a:pt x="310" y="188"/>
                  </a:cubicBezTo>
                  <a:cubicBezTo>
                    <a:pt x="271" y="230"/>
                    <a:pt x="271" y="230"/>
                    <a:pt x="271" y="230"/>
                  </a:cubicBezTo>
                  <a:lnTo>
                    <a:pt x="242" y="203"/>
                  </a:lnTo>
                  <a:close/>
                </a:path>
              </a:pathLst>
            </a:custGeom>
            <a:solidFill>
              <a:srgbClr val="2DBE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22">
              <a:extLst>
                <a:ext uri="{FF2B5EF4-FFF2-40B4-BE49-F238E27FC236}">
                  <a16:creationId xmlns:a16="http://schemas.microsoft.com/office/drawing/2014/main" id="{78AE9C4D-377F-64E2-F134-D88069D145C1}"/>
                </a:ext>
              </a:extLst>
            </p:cNvPr>
            <p:cNvSpPr>
              <a:spLocks noEditPoints="1"/>
            </p:cNvSpPr>
            <p:nvPr>
              <p:custDataLst>
                <p:tags r:id="rId38"/>
              </p:custDataLst>
            </p:nvPr>
          </p:nvSpPr>
          <p:spPr bwMode="auto">
            <a:xfrm>
              <a:off x="2287555" y="2274064"/>
              <a:ext cx="465833" cy="450382"/>
            </a:xfrm>
            <a:custGeom>
              <a:avLst/>
              <a:gdLst>
                <a:gd name="T0" fmla="*/ 5 w 148"/>
                <a:gd name="T1" fmla="*/ 66 h 143"/>
                <a:gd name="T2" fmla="*/ 14 w 148"/>
                <a:gd name="T3" fmla="*/ 117 h 143"/>
                <a:gd name="T4" fmla="*/ 58 w 148"/>
                <a:gd name="T5" fmla="*/ 142 h 143"/>
                <a:gd name="T6" fmla="*/ 111 w 148"/>
                <a:gd name="T7" fmla="*/ 125 h 143"/>
                <a:gd name="T8" fmla="*/ 143 w 148"/>
                <a:gd name="T9" fmla="*/ 77 h 143"/>
                <a:gd name="T10" fmla="*/ 134 w 148"/>
                <a:gd name="T11" fmla="*/ 26 h 143"/>
                <a:gd name="T12" fmla="*/ 91 w 148"/>
                <a:gd name="T13" fmla="*/ 1 h 143"/>
                <a:gd name="T14" fmla="*/ 37 w 148"/>
                <a:gd name="T15" fmla="*/ 18 h 143"/>
                <a:gd name="T16" fmla="*/ 5 w 148"/>
                <a:gd name="T17" fmla="*/ 66 h 143"/>
                <a:gd name="T18" fmla="*/ 33 w 148"/>
                <a:gd name="T19" fmla="*/ 48 h 143"/>
                <a:gd name="T20" fmla="*/ 41 w 148"/>
                <a:gd name="T21" fmla="*/ 36 h 143"/>
                <a:gd name="T22" fmla="*/ 55 w 148"/>
                <a:gd name="T23" fmla="*/ 32 h 143"/>
                <a:gd name="T24" fmla="*/ 66 w 148"/>
                <a:gd name="T25" fmla="*/ 38 h 143"/>
                <a:gd name="T26" fmla="*/ 67 w 148"/>
                <a:gd name="T27" fmla="*/ 40 h 143"/>
                <a:gd name="T28" fmla="*/ 82 w 148"/>
                <a:gd name="T29" fmla="*/ 38 h 143"/>
                <a:gd name="T30" fmla="*/ 103 w 148"/>
                <a:gd name="T31" fmla="*/ 49 h 143"/>
                <a:gd name="T32" fmla="*/ 108 w 148"/>
                <a:gd name="T33" fmla="*/ 74 h 143"/>
                <a:gd name="T34" fmla="*/ 92 w 148"/>
                <a:gd name="T35" fmla="*/ 97 h 143"/>
                <a:gd name="T36" fmla="*/ 66 w 148"/>
                <a:gd name="T37" fmla="*/ 105 h 143"/>
                <a:gd name="T38" fmla="*/ 45 w 148"/>
                <a:gd name="T39" fmla="*/ 93 h 143"/>
                <a:gd name="T40" fmla="*/ 41 w 148"/>
                <a:gd name="T41" fmla="*/ 68 h 143"/>
                <a:gd name="T42" fmla="*/ 41 w 148"/>
                <a:gd name="T43" fmla="*/ 66 h 143"/>
                <a:gd name="T44" fmla="*/ 35 w 148"/>
                <a:gd name="T45" fmla="*/ 61 h 143"/>
                <a:gd name="T46" fmla="*/ 33 w 148"/>
                <a:gd name="T47" fmla="*/ 4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8" h="143">
                  <a:moveTo>
                    <a:pt x="5" y="66"/>
                  </a:moveTo>
                  <a:cubicBezTo>
                    <a:pt x="0" y="84"/>
                    <a:pt x="3" y="102"/>
                    <a:pt x="14" y="117"/>
                  </a:cubicBezTo>
                  <a:cubicBezTo>
                    <a:pt x="24" y="132"/>
                    <a:pt x="40" y="141"/>
                    <a:pt x="58" y="142"/>
                  </a:cubicBezTo>
                  <a:cubicBezTo>
                    <a:pt x="77" y="143"/>
                    <a:pt x="96" y="137"/>
                    <a:pt x="111" y="125"/>
                  </a:cubicBezTo>
                  <a:cubicBezTo>
                    <a:pt x="127" y="113"/>
                    <a:pt x="139" y="96"/>
                    <a:pt x="143" y="77"/>
                  </a:cubicBezTo>
                  <a:cubicBezTo>
                    <a:pt x="148" y="59"/>
                    <a:pt x="145" y="41"/>
                    <a:pt x="134" y="26"/>
                  </a:cubicBezTo>
                  <a:cubicBezTo>
                    <a:pt x="124" y="11"/>
                    <a:pt x="108" y="2"/>
                    <a:pt x="91" y="1"/>
                  </a:cubicBezTo>
                  <a:cubicBezTo>
                    <a:pt x="71" y="0"/>
                    <a:pt x="52" y="6"/>
                    <a:pt x="37" y="18"/>
                  </a:cubicBezTo>
                  <a:cubicBezTo>
                    <a:pt x="21" y="29"/>
                    <a:pt x="10" y="47"/>
                    <a:pt x="5" y="66"/>
                  </a:cubicBezTo>
                  <a:close/>
                  <a:moveTo>
                    <a:pt x="33" y="48"/>
                  </a:moveTo>
                  <a:cubicBezTo>
                    <a:pt x="34" y="43"/>
                    <a:pt x="37" y="39"/>
                    <a:pt x="41" y="36"/>
                  </a:cubicBezTo>
                  <a:cubicBezTo>
                    <a:pt x="45" y="33"/>
                    <a:pt x="50" y="31"/>
                    <a:pt x="55" y="32"/>
                  </a:cubicBezTo>
                  <a:cubicBezTo>
                    <a:pt x="59" y="32"/>
                    <a:pt x="63" y="34"/>
                    <a:pt x="66" y="38"/>
                  </a:cubicBezTo>
                  <a:cubicBezTo>
                    <a:pt x="66" y="39"/>
                    <a:pt x="66" y="40"/>
                    <a:pt x="67" y="40"/>
                  </a:cubicBezTo>
                  <a:cubicBezTo>
                    <a:pt x="72" y="38"/>
                    <a:pt x="77" y="37"/>
                    <a:pt x="82" y="38"/>
                  </a:cubicBezTo>
                  <a:cubicBezTo>
                    <a:pt x="91" y="38"/>
                    <a:pt x="99" y="42"/>
                    <a:pt x="103" y="49"/>
                  </a:cubicBezTo>
                  <a:cubicBezTo>
                    <a:pt x="108" y="56"/>
                    <a:pt x="110" y="65"/>
                    <a:pt x="108" y="74"/>
                  </a:cubicBezTo>
                  <a:cubicBezTo>
                    <a:pt x="105" y="83"/>
                    <a:pt x="100" y="91"/>
                    <a:pt x="92" y="97"/>
                  </a:cubicBezTo>
                  <a:cubicBezTo>
                    <a:pt x="85" y="103"/>
                    <a:pt x="75" y="105"/>
                    <a:pt x="66" y="105"/>
                  </a:cubicBezTo>
                  <a:cubicBezTo>
                    <a:pt x="58" y="105"/>
                    <a:pt x="50" y="100"/>
                    <a:pt x="45" y="93"/>
                  </a:cubicBezTo>
                  <a:cubicBezTo>
                    <a:pt x="40" y="86"/>
                    <a:pt x="38" y="77"/>
                    <a:pt x="41" y="68"/>
                  </a:cubicBezTo>
                  <a:cubicBezTo>
                    <a:pt x="41" y="68"/>
                    <a:pt x="41" y="67"/>
                    <a:pt x="41" y="66"/>
                  </a:cubicBezTo>
                  <a:cubicBezTo>
                    <a:pt x="39" y="65"/>
                    <a:pt x="37" y="63"/>
                    <a:pt x="35" y="61"/>
                  </a:cubicBezTo>
                  <a:cubicBezTo>
                    <a:pt x="33" y="57"/>
                    <a:pt x="32" y="53"/>
                    <a:pt x="33" y="48"/>
                  </a:cubicBezTo>
                  <a:close/>
                </a:path>
              </a:pathLst>
            </a:custGeom>
            <a:solidFill>
              <a:srgbClr val="2DBE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2" name="girl_magnifier">
            <a:extLst>
              <a:ext uri="{FF2B5EF4-FFF2-40B4-BE49-F238E27FC236}">
                <a16:creationId xmlns:a16="http://schemas.microsoft.com/office/drawing/2014/main" id="{A15E819B-BA55-C5EE-6032-9EDAB32AB85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0967791" y="3352943"/>
            <a:ext cx="116651" cy="116651"/>
          </a:xfrm>
          <a:custGeom>
            <a:avLst/>
            <a:gdLst>
              <a:gd name="T0" fmla="*/ 9 w 37"/>
              <a:gd name="T1" fmla="*/ 35 h 37"/>
              <a:gd name="T2" fmla="*/ 14 w 37"/>
              <a:gd name="T3" fmla="*/ 36 h 37"/>
              <a:gd name="T4" fmla="*/ 28 w 37"/>
              <a:gd name="T5" fmla="*/ 32 h 37"/>
              <a:gd name="T6" fmla="*/ 36 w 37"/>
              <a:gd name="T7" fmla="*/ 20 h 37"/>
              <a:gd name="T8" fmla="*/ 35 w 37"/>
              <a:gd name="T9" fmla="*/ 9 h 37"/>
              <a:gd name="T10" fmla="*/ 34 w 37"/>
              <a:gd name="T11" fmla="*/ 7 h 37"/>
              <a:gd name="T12" fmla="*/ 23 w 37"/>
              <a:gd name="T13" fmla="*/ 1 h 37"/>
              <a:gd name="T14" fmla="*/ 9 w 37"/>
              <a:gd name="T15" fmla="*/ 5 h 37"/>
              <a:gd name="T16" fmla="*/ 1 w 37"/>
              <a:gd name="T17" fmla="*/ 17 h 37"/>
              <a:gd name="T18" fmla="*/ 3 w 37"/>
              <a:gd name="T19" fmla="*/ 30 h 37"/>
              <a:gd name="T20" fmla="*/ 9 w 37"/>
              <a:gd name="T21" fmla="*/ 35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7" h="37">
                <a:moveTo>
                  <a:pt x="9" y="35"/>
                </a:moveTo>
                <a:cubicBezTo>
                  <a:pt x="11" y="36"/>
                  <a:pt x="12" y="36"/>
                  <a:pt x="14" y="36"/>
                </a:cubicBezTo>
                <a:cubicBezTo>
                  <a:pt x="19" y="37"/>
                  <a:pt x="24" y="35"/>
                  <a:pt x="28" y="32"/>
                </a:cubicBezTo>
                <a:cubicBezTo>
                  <a:pt x="32" y="29"/>
                  <a:pt x="34" y="25"/>
                  <a:pt x="36" y="20"/>
                </a:cubicBezTo>
                <a:cubicBezTo>
                  <a:pt x="37" y="16"/>
                  <a:pt x="36" y="13"/>
                  <a:pt x="35" y="9"/>
                </a:cubicBezTo>
                <a:cubicBezTo>
                  <a:pt x="34" y="9"/>
                  <a:pt x="34" y="8"/>
                  <a:pt x="34" y="7"/>
                </a:cubicBezTo>
                <a:cubicBezTo>
                  <a:pt x="31" y="3"/>
                  <a:pt x="27" y="1"/>
                  <a:pt x="23" y="1"/>
                </a:cubicBezTo>
                <a:cubicBezTo>
                  <a:pt x="18" y="0"/>
                  <a:pt x="13" y="2"/>
                  <a:pt x="9" y="5"/>
                </a:cubicBezTo>
                <a:cubicBezTo>
                  <a:pt x="5" y="8"/>
                  <a:pt x="2" y="12"/>
                  <a:pt x="1" y="17"/>
                </a:cubicBezTo>
                <a:cubicBezTo>
                  <a:pt x="0" y="22"/>
                  <a:pt x="1" y="26"/>
                  <a:pt x="3" y="30"/>
                </a:cubicBezTo>
                <a:cubicBezTo>
                  <a:pt x="5" y="32"/>
                  <a:pt x="7" y="34"/>
                  <a:pt x="9" y="3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3" name="girl_magnifier">
            <a:extLst>
              <a:ext uri="{FF2B5EF4-FFF2-40B4-BE49-F238E27FC236}">
                <a16:creationId xmlns:a16="http://schemas.microsoft.com/office/drawing/2014/main" id="{63EFB006-2EDE-02CD-1048-2DCD317F5088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10253205" y="2952775"/>
            <a:ext cx="1747451" cy="2661348"/>
            <a:chOff x="7412038" y="749300"/>
            <a:chExt cx="3590925" cy="5468938"/>
          </a:xfrm>
        </p:grpSpPr>
        <p:sp>
          <p:nvSpPr>
            <p:cNvPr id="44" name="Freeform 19">
              <a:extLst>
                <a:ext uri="{FF2B5EF4-FFF2-40B4-BE49-F238E27FC236}">
                  <a16:creationId xmlns:a16="http://schemas.microsoft.com/office/drawing/2014/main" id="{BF7156EE-A639-6C0D-363F-EAAAE607B236}"/>
                </a:ext>
              </a:extLst>
            </p:cNvPr>
            <p:cNvSpPr>
              <a:spLocks noEditPoints="1"/>
            </p:cNvSpPr>
            <p:nvPr>
              <p:custDataLst>
                <p:tags r:id="rId33"/>
              </p:custDataLst>
            </p:nvPr>
          </p:nvSpPr>
          <p:spPr bwMode="auto">
            <a:xfrm>
              <a:off x="7412038" y="749300"/>
              <a:ext cx="2581275" cy="2630488"/>
            </a:xfrm>
            <a:custGeom>
              <a:avLst/>
              <a:gdLst>
                <a:gd name="T0" fmla="*/ 145 w 399"/>
                <a:gd name="T1" fmla="*/ 53 h 406"/>
                <a:gd name="T2" fmla="*/ 116 w 399"/>
                <a:gd name="T3" fmla="*/ 91 h 406"/>
                <a:gd name="T4" fmla="*/ 149 w 399"/>
                <a:gd name="T5" fmla="*/ 125 h 406"/>
                <a:gd name="T6" fmla="*/ 148 w 399"/>
                <a:gd name="T7" fmla="*/ 249 h 406"/>
                <a:gd name="T8" fmla="*/ 137 w 399"/>
                <a:gd name="T9" fmla="*/ 239 h 406"/>
                <a:gd name="T10" fmla="*/ 71 w 399"/>
                <a:gd name="T11" fmla="*/ 310 h 406"/>
                <a:gd name="T12" fmla="*/ 0 w 399"/>
                <a:gd name="T13" fmla="*/ 389 h 406"/>
                <a:gd name="T14" fmla="*/ 19 w 399"/>
                <a:gd name="T15" fmla="*/ 406 h 406"/>
                <a:gd name="T16" fmla="*/ 59 w 399"/>
                <a:gd name="T17" fmla="*/ 362 h 406"/>
                <a:gd name="T18" fmla="*/ 70 w 399"/>
                <a:gd name="T19" fmla="*/ 325 h 406"/>
                <a:gd name="T20" fmla="*/ 95 w 399"/>
                <a:gd name="T21" fmla="*/ 323 h 406"/>
                <a:gd name="T22" fmla="*/ 156 w 399"/>
                <a:gd name="T23" fmla="*/ 257 h 406"/>
                <a:gd name="T24" fmla="*/ 161 w 399"/>
                <a:gd name="T25" fmla="*/ 262 h 406"/>
                <a:gd name="T26" fmla="*/ 201 w 399"/>
                <a:gd name="T27" fmla="*/ 283 h 406"/>
                <a:gd name="T28" fmla="*/ 330 w 399"/>
                <a:gd name="T29" fmla="*/ 249 h 406"/>
                <a:gd name="T30" fmla="*/ 389 w 399"/>
                <a:gd name="T31" fmla="*/ 160 h 406"/>
                <a:gd name="T32" fmla="*/ 337 w 399"/>
                <a:gd name="T33" fmla="*/ 30 h 406"/>
                <a:gd name="T34" fmla="*/ 263 w 399"/>
                <a:gd name="T35" fmla="*/ 0 h 406"/>
                <a:gd name="T36" fmla="*/ 163 w 399"/>
                <a:gd name="T37" fmla="*/ 37 h 406"/>
                <a:gd name="T38" fmla="*/ 246 w 399"/>
                <a:gd name="T39" fmla="*/ 49 h 406"/>
                <a:gd name="T40" fmla="*/ 346 w 399"/>
                <a:gd name="T41" fmla="*/ 53 h 406"/>
                <a:gd name="T42" fmla="*/ 352 w 399"/>
                <a:gd name="T43" fmla="*/ 58 h 406"/>
                <a:gd name="T44" fmla="*/ 366 w 399"/>
                <a:gd name="T45" fmla="*/ 72 h 406"/>
                <a:gd name="T46" fmla="*/ 381 w 399"/>
                <a:gd name="T47" fmla="*/ 160 h 406"/>
                <a:gd name="T48" fmla="*/ 324 w 399"/>
                <a:gd name="T49" fmla="*/ 244 h 406"/>
                <a:gd name="T50" fmla="*/ 291 w 399"/>
                <a:gd name="T51" fmla="*/ 265 h 406"/>
                <a:gd name="T52" fmla="*/ 207 w 399"/>
                <a:gd name="T53" fmla="*/ 277 h 406"/>
                <a:gd name="T54" fmla="*/ 166 w 399"/>
                <a:gd name="T55" fmla="*/ 257 h 406"/>
                <a:gd name="T56" fmla="*/ 154 w 399"/>
                <a:gd name="T57" fmla="*/ 244 h 406"/>
                <a:gd name="T58" fmla="*/ 149 w 399"/>
                <a:gd name="T59" fmla="*/ 236 h 406"/>
                <a:gd name="T60" fmla="*/ 138 w 399"/>
                <a:gd name="T61" fmla="*/ 188 h 406"/>
                <a:gd name="T62" fmla="*/ 157 w 399"/>
                <a:gd name="T63" fmla="*/ 124 h 406"/>
                <a:gd name="T64" fmla="*/ 190 w 399"/>
                <a:gd name="T65" fmla="*/ 84 h 406"/>
                <a:gd name="T66" fmla="*/ 200 w 399"/>
                <a:gd name="T67" fmla="*/ 75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99" h="406">
                  <a:moveTo>
                    <a:pt x="145" y="53"/>
                  </a:moveTo>
                  <a:cubicBezTo>
                    <a:pt x="145" y="53"/>
                    <a:pt x="145" y="53"/>
                    <a:pt x="145" y="53"/>
                  </a:cubicBezTo>
                  <a:cubicBezTo>
                    <a:pt x="141" y="57"/>
                    <a:pt x="138" y="61"/>
                    <a:pt x="134" y="65"/>
                  </a:cubicBezTo>
                  <a:cubicBezTo>
                    <a:pt x="128" y="73"/>
                    <a:pt x="122" y="82"/>
                    <a:pt x="116" y="91"/>
                  </a:cubicBezTo>
                  <a:cubicBezTo>
                    <a:pt x="116" y="91"/>
                    <a:pt x="116" y="91"/>
                    <a:pt x="116" y="92"/>
                  </a:cubicBezTo>
                  <a:cubicBezTo>
                    <a:pt x="149" y="125"/>
                    <a:pt x="149" y="125"/>
                    <a:pt x="149" y="125"/>
                  </a:cubicBezTo>
                  <a:cubicBezTo>
                    <a:pt x="143" y="136"/>
                    <a:pt x="138" y="148"/>
                    <a:pt x="135" y="160"/>
                  </a:cubicBezTo>
                  <a:cubicBezTo>
                    <a:pt x="126" y="194"/>
                    <a:pt x="130" y="224"/>
                    <a:pt x="148" y="249"/>
                  </a:cubicBezTo>
                  <a:cubicBezTo>
                    <a:pt x="148" y="249"/>
                    <a:pt x="148" y="250"/>
                    <a:pt x="149" y="250"/>
                  </a:cubicBezTo>
                  <a:cubicBezTo>
                    <a:pt x="149" y="251"/>
                    <a:pt x="144" y="246"/>
                    <a:pt x="137" y="239"/>
                  </a:cubicBezTo>
                  <a:cubicBezTo>
                    <a:pt x="90" y="290"/>
                    <a:pt x="90" y="290"/>
                    <a:pt x="90" y="290"/>
                  </a:cubicBezTo>
                  <a:cubicBezTo>
                    <a:pt x="71" y="310"/>
                    <a:pt x="71" y="310"/>
                    <a:pt x="71" y="310"/>
                  </a:cubicBezTo>
                  <a:cubicBezTo>
                    <a:pt x="0" y="388"/>
                    <a:pt x="0" y="388"/>
                    <a:pt x="0" y="388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18" y="405"/>
                    <a:pt x="18" y="405"/>
                    <a:pt x="18" y="405"/>
                  </a:cubicBezTo>
                  <a:cubicBezTo>
                    <a:pt x="19" y="406"/>
                    <a:pt x="19" y="406"/>
                    <a:pt x="19" y="406"/>
                  </a:cubicBezTo>
                  <a:cubicBezTo>
                    <a:pt x="19" y="406"/>
                    <a:pt x="19" y="406"/>
                    <a:pt x="19" y="406"/>
                  </a:cubicBezTo>
                  <a:cubicBezTo>
                    <a:pt x="59" y="362"/>
                    <a:pt x="59" y="362"/>
                    <a:pt x="59" y="362"/>
                  </a:cubicBezTo>
                  <a:cubicBezTo>
                    <a:pt x="56" y="356"/>
                    <a:pt x="55" y="349"/>
                    <a:pt x="57" y="342"/>
                  </a:cubicBezTo>
                  <a:cubicBezTo>
                    <a:pt x="58" y="335"/>
                    <a:pt x="63" y="329"/>
                    <a:pt x="70" y="325"/>
                  </a:cubicBezTo>
                  <a:cubicBezTo>
                    <a:pt x="76" y="322"/>
                    <a:pt x="84" y="320"/>
                    <a:pt x="91" y="322"/>
                  </a:cubicBezTo>
                  <a:cubicBezTo>
                    <a:pt x="92" y="322"/>
                    <a:pt x="94" y="323"/>
                    <a:pt x="95" y="323"/>
                  </a:cubicBezTo>
                  <a:cubicBezTo>
                    <a:pt x="112" y="304"/>
                    <a:pt x="112" y="304"/>
                    <a:pt x="112" y="304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8" y="259"/>
                    <a:pt x="158" y="259"/>
                    <a:pt x="158" y="259"/>
                  </a:cubicBezTo>
                  <a:cubicBezTo>
                    <a:pt x="161" y="262"/>
                    <a:pt x="161" y="262"/>
                    <a:pt x="161" y="262"/>
                  </a:cubicBezTo>
                  <a:cubicBezTo>
                    <a:pt x="163" y="264"/>
                    <a:pt x="164" y="265"/>
                    <a:pt x="166" y="266"/>
                  </a:cubicBezTo>
                  <a:cubicBezTo>
                    <a:pt x="176" y="274"/>
                    <a:pt x="188" y="280"/>
                    <a:pt x="201" y="283"/>
                  </a:cubicBezTo>
                  <a:cubicBezTo>
                    <a:pt x="210" y="285"/>
                    <a:pt x="220" y="286"/>
                    <a:pt x="230" y="286"/>
                  </a:cubicBezTo>
                  <a:cubicBezTo>
                    <a:pt x="266" y="286"/>
                    <a:pt x="302" y="273"/>
                    <a:pt x="330" y="249"/>
                  </a:cubicBezTo>
                  <a:cubicBezTo>
                    <a:pt x="359" y="227"/>
                    <a:pt x="380" y="195"/>
                    <a:pt x="389" y="160"/>
                  </a:cubicBezTo>
                  <a:cubicBezTo>
                    <a:pt x="389" y="160"/>
                    <a:pt x="389" y="160"/>
                    <a:pt x="389" y="160"/>
                  </a:cubicBezTo>
                  <a:cubicBezTo>
                    <a:pt x="399" y="125"/>
                    <a:pt x="394" y="95"/>
                    <a:pt x="376" y="70"/>
                  </a:cubicBezTo>
                  <a:cubicBezTo>
                    <a:pt x="376" y="68"/>
                    <a:pt x="363" y="55"/>
                    <a:pt x="337" y="30"/>
                  </a:cubicBezTo>
                  <a:cubicBezTo>
                    <a:pt x="330" y="23"/>
                    <a:pt x="323" y="18"/>
                    <a:pt x="315" y="13"/>
                  </a:cubicBezTo>
                  <a:cubicBezTo>
                    <a:pt x="299" y="4"/>
                    <a:pt x="281" y="0"/>
                    <a:pt x="263" y="0"/>
                  </a:cubicBezTo>
                  <a:cubicBezTo>
                    <a:pt x="248" y="0"/>
                    <a:pt x="234" y="3"/>
                    <a:pt x="220" y="7"/>
                  </a:cubicBezTo>
                  <a:cubicBezTo>
                    <a:pt x="199" y="13"/>
                    <a:pt x="180" y="23"/>
                    <a:pt x="163" y="37"/>
                  </a:cubicBezTo>
                  <a:cubicBezTo>
                    <a:pt x="157" y="42"/>
                    <a:pt x="151" y="47"/>
                    <a:pt x="145" y="53"/>
                  </a:cubicBezTo>
                  <a:close/>
                  <a:moveTo>
                    <a:pt x="246" y="49"/>
                  </a:moveTo>
                  <a:cubicBezTo>
                    <a:pt x="261" y="43"/>
                    <a:pt x="277" y="40"/>
                    <a:pt x="294" y="40"/>
                  </a:cubicBezTo>
                  <a:cubicBezTo>
                    <a:pt x="312" y="40"/>
                    <a:pt x="330" y="44"/>
                    <a:pt x="346" y="53"/>
                  </a:cubicBezTo>
                  <a:cubicBezTo>
                    <a:pt x="347" y="54"/>
                    <a:pt x="348" y="55"/>
                    <a:pt x="349" y="55"/>
                  </a:cubicBezTo>
                  <a:cubicBezTo>
                    <a:pt x="350" y="56"/>
                    <a:pt x="351" y="57"/>
                    <a:pt x="352" y="58"/>
                  </a:cubicBezTo>
                  <a:cubicBezTo>
                    <a:pt x="357" y="61"/>
                    <a:pt x="362" y="66"/>
                    <a:pt x="365" y="71"/>
                  </a:cubicBezTo>
                  <a:cubicBezTo>
                    <a:pt x="365" y="71"/>
                    <a:pt x="366" y="71"/>
                    <a:pt x="366" y="72"/>
                  </a:cubicBezTo>
                  <a:cubicBezTo>
                    <a:pt x="367" y="73"/>
                    <a:pt x="368" y="74"/>
                    <a:pt x="369" y="75"/>
                  </a:cubicBezTo>
                  <a:cubicBezTo>
                    <a:pt x="386" y="98"/>
                    <a:pt x="390" y="127"/>
                    <a:pt x="381" y="160"/>
                  </a:cubicBezTo>
                  <a:cubicBezTo>
                    <a:pt x="377" y="177"/>
                    <a:pt x="370" y="192"/>
                    <a:pt x="360" y="207"/>
                  </a:cubicBezTo>
                  <a:cubicBezTo>
                    <a:pt x="350" y="221"/>
                    <a:pt x="338" y="234"/>
                    <a:pt x="324" y="244"/>
                  </a:cubicBezTo>
                  <a:cubicBezTo>
                    <a:pt x="322" y="246"/>
                    <a:pt x="320" y="248"/>
                    <a:pt x="318" y="249"/>
                  </a:cubicBezTo>
                  <a:cubicBezTo>
                    <a:pt x="309" y="255"/>
                    <a:pt x="300" y="261"/>
                    <a:pt x="291" y="265"/>
                  </a:cubicBezTo>
                  <a:cubicBezTo>
                    <a:pt x="272" y="275"/>
                    <a:pt x="251" y="279"/>
                    <a:pt x="230" y="279"/>
                  </a:cubicBezTo>
                  <a:cubicBezTo>
                    <a:pt x="223" y="280"/>
                    <a:pt x="215" y="279"/>
                    <a:pt x="207" y="277"/>
                  </a:cubicBezTo>
                  <a:cubicBezTo>
                    <a:pt x="195" y="275"/>
                    <a:pt x="183" y="270"/>
                    <a:pt x="173" y="262"/>
                  </a:cubicBezTo>
                  <a:cubicBezTo>
                    <a:pt x="170" y="261"/>
                    <a:pt x="168" y="259"/>
                    <a:pt x="166" y="257"/>
                  </a:cubicBezTo>
                  <a:cubicBezTo>
                    <a:pt x="164" y="255"/>
                    <a:pt x="163" y="254"/>
                    <a:pt x="161" y="252"/>
                  </a:cubicBezTo>
                  <a:cubicBezTo>
                    <a:pt x="159" y="250"/>
                    <a:pt x="157" y="247"/>
                    <a:pt x="154" y="244"/>
                  </a:cubicBezTo>
                  <a:cubicBezTo>
                    <a:pt x="153" y="243"/>
                    <a:pt x="152" y="241"/>
                    <a:pt x="151" y="240"/>
                  </a:cubicBezTo>
                  <a:cubicBezTo>
                    <a:pt x="149" y="236"/>
                    <a:pt x="149" y="236"/>
                    <a:pt x="149" y="236"/>
                  </a:cubicBezTo>
                  <a:cubicBezTo>
                    <a:pt x="147" y="233"/>
                    <a:pt x="146" y="230"/>
                    <a:pt x="144" y="226"/>
                  </a:cubicBezTo>
                  <a:cubicBezTo>
                    <a:pt x="139" y="215"/>
                    <a:pt x="137" y="202"/>
                    <a:pt x="138" y="188"/>
                  </a:cubicBezTo>
                  <a:cubicBezTo>
                    <a:pt x="138" y="179"/>
                    <a:pt x="139" y="170"/>
                    <a:pt x="142" y="160"/>
                  </a:cubicBezTo>
                  <a:cubicBezTo>
                    <a:pt x="146" y="147"/>
                    <a:pt x="151" y="135"/>
                    <a:pt x="157" y="124"/>
                  </a:cubicBezTo>
                  <a:cubicBezTo>
                    <a:pt x="166" y="109"/>
                    <a:pt x="177" y="95"/>
                    <a:pt x="190" y="84"/>
                  </a:cubicBezTo>
                  <a:cubicBezTo>
                    <a:pt x="190" y="84"/>
                    <a:pt x="190" y="84"/>
                    <a:pt x="190" y="84"/>
                  </a:cubicBezTo>
                  <a:cubicBezTo>
                    <a:pt x="190" y="83"/>
                    <a:pt x="190" y="83"/>
                    <a:pt x="190" y="83"/>
                  </a:cubicBezTo>
                  <a:cubicBezTo>
                    <a:pt x="194" y="80"/>
                    <a:pt x="197" y="78"/>
                    <a:pt x="200" y="75"/>
                  </a:cubicBezTo>
                  <a:cubicBezTo>
                    <a:pt x="215" y="64"/>
                    <a:pt x="230" y="55"/>
                    <a:pt x="246" y="49"/>
                  </a:cubicBezTo>
                  <a:close/>
                </a:path>
              </a:pathLst>
            </a:custGeom>
            <a:solidFill>
              <a:srgbClr val="0F69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5" name="Group 78">
              <a:extLst>
                <a:ext uri="{FF2B5EF4-FFF2-40B4-BE49-F238E27FC236}">
                  <a16:creationId xmlns:a16="http://schemas.microsoft.com/office/drawing/2014/main" id="{9D23B595-1C0C-45BB-EDB3-B762D1E39D35}"/>
                </a:ext>
              </a:extLst>
            </p:cNvPr>
            <p:cNvGrpSpPr/>
            <p:nvPr/>
          </p:nvGrpSpPr>
          <p:grpSpPr>
            <a:xfrm>
              <a:off x="9158288" y="3852863"/>
              <a:ext cx="1844675" cy="2365375"/>
              <a:chOff x="9158288" y="3852863"/>
              <a:chExt cx="1844675" cy="2365375"/>
            </a:xfrm>
          </p:grpSpPr>
          <p:sp>
            <p:nvSpPr>
              <p:cNvPr id="46" name="Freeform 25">
                <a:extLst>
                  <a:ext uri="{FF2B5EF4-FFF2-40B4-BE49-F238E27FC236}">
                    <a16:creationId xmlns:a16="http://schemas.microsoft.com/office/drawing/2014/main" id="{E8077343-0567-02B7-F8CC-01FB5C23E602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0033001" y="3852863"/>
                <a:ext cx="103188" cy="2365375"/>
              </a:xfrm>
              <a:custGeom>
                <a:avLst/>
                <a:gdLst>
                  <a:gd name="T0" fmla="*/ 10 w 16"/>
                  <a:gd name="T1" fmla="*/ 0 h 365"/>
                  <a:gd name="T2" fmla="*/ 5 w 16"/>
                  <a:gd name="T3" fmla="*/ 0 h 365"/>
                  <a:gd name="T4" fmla="*/ 0 w 16"/>
                  <a:gd name="T5" fmla="*/ 19 h 365"/>
                  <a:gd name="T6" fmla="*/ 0 w 16"/>
                  <a:gd name="T7" fmla="*/ 357 h 365"/>
                  <a:gd name="T8" fmla="*/ 8 w 16"/>
                  <a:gd name="T9" fmla="*/ 365 h 365"/>
                  <a:gd name="T10" fmla="*/ 16 w 16"/>
                  <a:gd name="T11" fmla="*/ 357 h 365"/>
                  <a:gd name="T12" fmla="*/ 16 w 16"/>
                  <a:gd name="T13" fmla="*/ 24 h 365"/>
                  <a:gd name="T14" fmla="*/ 10 w 16"/>
                  <a:gd name="T15" fmla="*/ 0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65">
                    <a:moveTo>
                      <a:pt x="10" y="0"/>
                    </a:moveTo>
                    <a:cubicBezTo>
                      <a:pt x="8" y="0"/>
                      <a:pt x="7" y="0"/>
                      <a:pt x="5" y="0"/>
                    </a:cubicBezTo>
                    <a:cubicBezTo>
                      <a:pt x="4" y="7"/>
                      <a:pt x="2" y="13"/>
                      <a:pt x="0" y="19"/>
                    </a:cubicBezTo>
                    <a:cubicBezTo>
                      <a:pt x="0" y="357"/>
                      <a:pt x="0" y="357"/>
                      <a:pt x="0" y="357"/>
                    </a:cubicBezTo>
                    <a:cubicBezTo>
                      <a:pt x="0" y="361"/>
                      <a:pt x="4" y="365"/>
                      <a:pt x="8" y="365"/>
                    </a:cubicBezTo>
                    <a:cubicBezTo>
                      <a:pt x="13" y="365"/>
                      <a:pt x="16" y="361"/>
                      <a:pt x="16" y="35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3" y="16"/>
                      <a:pt x="11" y="8"/>
                      <a:pt x="10" y="0"/>
                    </a:cubicBezTo>
                    <a:close/>
                  </a:path>
                </a:pathLst>
              </a:custGeom>
              <a:solidFill>
                <a:srgbClr val="0F69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26">
                <a:extLst>
                  <a:ext uri="{FF2B5EF4-FFF2-40B4-BE49-F238E27FC236}">
                    <a16:creationId xmlns:a16="http://schemas.microsoft.com/office/drawing/2014/main" id="{BA5A8098-B6F7-7319-16B0-2EA5142DE163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10155238" y="4500563"/>
                <a:ext cx="847725" cy="803275"/>
              </a:xfrm>
              <a:custGeom>
                <a:avLst/>
                <a:gdLst>
                  <a:gd name="T0" fmla="*/ 0 w 131"/>
                  <a:gd name="T1" fmla="*/ 104 h 124"/>
                  <a:gd name="T2" fmla="*/ 131 w 131"/>
                  <a:gd name="T3" fmla="*/ 14 h 124"/>
                  <a:gd name="T4" fmla="*/ 0 w 131"/>
                  <a:gd name="T5" fmla="*/ 10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1" h="124">
                    <a:moveTo>
                      <a:pt x="0" y="104"/>
                    </a:moveTo>
                    <a:cubicBezTo>
                      <a:pt x="82" y="124"/>
                      <a:pt x="131" y="14"/>
                      <a:pt x="131" y="14"/>
                    </a:cubicBezTo>
                    <a:cubicBezTo>
                      <a:pt x="63" y="0"/>
                      <a:pt x="0" y="104"/>
                      <a:pt x="0" y="104"/>
                    </a:cubicBezTo>
                    <a:close/>
                  </a:path>
                </a:pathLst>
              </a:custGeom>
              <a:solidFill>
                <a:srgbClr val="0F69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27">
                <a:extLst>
                  <a:ext uri="{FF2B5EF4-FFF2-40B4-BE49-F238E27FC236}">
                    <a16:creationId xmlns:a16="http://schemas.microsoft.com/office/drawing/2014/main" id="{2F42A7C4-E159-EE9F-5BCA-3B9B752750CD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9158288" y="4500563"/>
                <a:ext cx="847725" cy="803275"/>
              </a:xfrm>
              <a:custGeom>
                <a:avLst/>
                <a:gdLst>
                  <a:gd name="T0" fmla="*/ 0 w 131"/>
                  <a:gd name="T1" fmla="*/ 14 h 124"/>
                  <a:gd name="T2" fmla="*/ 131 w 131"/>
                  <a:gd name="T3" fmla="*/ 104 h 124"/>
                  <a:gd name="T4" fmla="*/ 0 w 131"/>
                  <a:gd name="T5" fmla="*/ 1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1" h="124">
                    <a:moveTo>
                      <a:pt x="0" y="14"/>
                    </a:moveTo>
                    <a:cubicBezTo>
                      <a:pt x="0" y="14"/>
                      <a:pt x="50" y="124"/>
                      <a:pt x="131" y="104"/>
                    </a:cubicBezTo>
                    <a:cubicBezTo>
                      <a:pt x="131" y="104"/>
                      <a:pt x="68" y="0"/>
                      <a:pt x="0" y="14"/>
                    </a:cubicBezTo>
                    <a:close/>
                  </a:path>
                </a:pathLst>
              </a:custGeom>
              <a:solidFill>
                <a:srgbClr val="0F69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49" name="girl_magnifier">
            <a:extLst>
              <a:ext uri="{FF2B5EF4-FFF2-40B4-BE49-F238E27FC236}">
                <a16:creationId xmlns:a16="http://schemas.microsoft.com/office/drawing/2014/main" id="{A84A68CD-C7BC-BF20-2246-FF2E8B4AE8B8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10108612" y="2636912"/>
            <a:ext cx="1813116" cy="2146846"/>
            <a:chOff x="1576059" y="1652954"/>
            <a:chExt cx="1813116" cy="2146846"/>
          </a:xfrm>
        </p:grpSpPr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71C70435-F847-DBEA-44B7-D00591AABE33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1576059" y="1652954"/>
              <a:ext cx="790293" cy="945570"/>
            </a:xfrm>
            <a:custGeom>
              <a:avLst/>
              <a:gdLst>
                <a:gd name="T0" fmla="*/ 45 w 251"/>
                <a:gd name="T1" fmla="*/ 289 h 300"/>
                <a:gd name="T2" fmla="*/ 47 w 251"/>
                <a:gd name="T3" fmla="*/ 265 h 300"/>
                <a:gd name="T4" fmla="*/ 93 w 251"/>
                <a:gd name="T5" fmla="*/ 136 h 300"/>
                <a:gd name="T6" fmla="*/ 108 w 251"/>
                <a:gd name="T7" fmla="*/ 147 h 300"/>
                <a:gd name="T8" fmla="*/ 100 w 251"/>
                <a:gd name="T9" fmla="*/ 130 h 300"/>
                <a:gd name="T10" fmla="*/ 147 w 251"/>
                <a:gd name="T11" fmla="*/ 168 h 300"/>
                <a:gd name="T12" fmla="*/ 136 w 251"/>
                <a:gd name="T13" fmla="*/ 139 h 300"/>
                <a:gd name="T14" fmla="*/ 165 w 251"/>
                <a:gd name="T15" fmla="*/ 166 h 300"/>
                <a:gd name="T16" fmla="*/ 176 w 251"/>
                <a:gd name="T17" fmla="*/ 154 h 300"/>
                <a:gd name="T18" fmla="*/ 176 w 251"/>
                <a:gd name="T19" fmla="*/ 154 h 300"/>
                <a:gd name="T20" fmla="*/ 176 w 251"/>
                <a:gd name="T21" fmla="*/ 154 h 300"/>
                <a:gd name="T22" fmla="*/ 194 w 251"/>
                <a:gd name="T23" fmla="*/ 138 h 300"/>
                <a:gd name="T24" fmla="*/ 251 w 251"/>
                <a:gd name="T25" fmla="*/ 108 h 300"/>
                <a:gd name="T26" fmla="*/ 207 w 251"/>
                <a:gd name="T27" fmla="*/ 54 h 300"/>
                <a:gd name="T28" fmla="*/ 22 w 251"/>
                <a:gd name="T29" fmla="*/ 109 h 300"/>
                <a:gd name="T30" fmla="*/ 37 w 251"/>
                <a:gd name="T31" fmla="*/ 289 h 300"/>
                <a:gd name="T32" fmla="*/ 45 w 251"/>
                <a:gd name="T33" fmla="*/ 300 h 300"/>
                <a:gd name="T34" fmla="*/ 45 w 251"/>
                <a:gd name="T35" fmla="*/ 289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1" h="300">
                  <a:moveTo>
                    <a:pt x="45" y="289"/>
                  </a:moveTo>
                  <a:cubicBezTo>
                    <a:pt x="46" y="282"/>
                    <a:pt x="46" y="274"/>
                    <a:pt x="47" y="265"/>
                  </a:cubicBezTo>
                  <a:cubicBezTo>
                    <a:pt x="52" y="229"/>
                    <a:pt x="63" y="175"/>
                    <a:pt x="93" y="136"/>
                  </a:cubicBezTo>
                  <a:cubicBezTo>
                    <a:pt x="106" y="147"/>
                    <a:pt x="109" y="148"/>
                    <a:pt x="108" y="147"/>
                  </a:cubicBezTo>
                  <a:cubicBezTo>
                    <a:pt x="106" y="146"/>
                    <a:pt x="100" y="130"/>
                    <a:pt x="100" y="130"/>
                  </a:cubicBezTo>
                  <a:cubicBezTo>
                    <a:pt x="112" y="145"/>
                    <a:pt x="133" y="166"/>
                    <a:pt x="147" y="168"/>
                  </a:cubicBezTo>
                  <a:cubicBezTo>
                    <a:pt x="145" y="166"/>
                    <a:pt x="135" y="140"/>
                    <a:pt x="136" y="139"/>
                  </a:cubicBezTo>
                  <a:cubicBezTo>
                    <a:pt x="143" y="151"/>
                    <a:pt x="155" y="160"/>
                    <a:pt x="165" y="166"/>
                  </a:cubicBezTo>
                  <a:cubicBezTo>
                    <a:pt x="169" y="162"/>
                    <a:pt x="172" y="158"/>
                    <a:pt x="176" y="154"/>
                  </a:cubicBezTo>
                  <a:cubicBezTo>
                    <a:pt x="176" y="154"/>
                    <a:pt x="176" y="154"/>
                    <a:pt x="176" y="154"/>
                  </a:cubicBezTo>
                  <a:cubicBezTo>
                    <a:pt x="176" y="154"/>
                    <a:pt x="176" y="154"/>
                    <a:pt x="176" y="154"/>
                  </a:cubicBezTo>
                  <a:cubicBezTo>
                    <a:pt x="182" y="148"/>
                    <a:pt x="188" y="143"/>
                    <a:pt x="194" y="138"/>
                  </a:cubicBezTo>
                  <a:cubicBezTo>
                    <a:pt x="211" y="124"/>
                    <a:pt x="230" y="114"/>
                    <a:pt x="251" y="108"/>
                  </a:cubicBezTo>
                  <a:cubicBezTo>
                    <a:pt x="244" y="86"/>
                    <a:pt x="231" y="67"/>
                    <a:pt x="207" y="54"/>
                  </a:cubicBezTo>
                  <a:cubicBezTo>
                    <a:pt x="112" y="0"/>
                    <a:pt x="48" y="43"/>
                    <a:pt x="22" y="109"/>
                  </a:cubicBezTo>
                  <a:cubicBezTo>
                    <a:pt x="0" y="167"/>
                    <a:pt x="17" y="255"/>
                    <a:pt x="37" y="289"/>
                  </a:cubicBezTo>
                  <a:cubicBezTo>
                    <a:pt x="39" y="294"/>
                    <a:pt x="42" y="297"/>
                    <a:pt x="45" y="300"/>
                  </a:cubicBezTo>
                  <a:cubicBezTo>
                    <a:pt x="45" y="300"/>
                    <a:pt x="45" y="296"/>
                    <a:pt x="45" y="289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51" name="Group 62">
              <a:extLst>
                <a:ext uri="{FF2B5EF4-FFF2-40B4-BE49-F238E27FC236}">
                  <a16:creationId xmlns:a16="http://schemas.microsoft.com/office/drawing/2014/main" id="{AEF13D58-7C7D-56FD-E9F8-0F43358951C4}"/>
                </a:ext>
              </a:extLst>
            </p:cNvPr>
            <p:cNvGrpSpPr/>
            <p:nvPr/>
          </p:nvGrpSpPr>
          <p:grpSpPr>
            <a:xfrm>
              <a:off x="2557938" y="2973971"/>
              <a:ext cx="831237" cy="825829"/>
              <a:chOff x="9229726" y="2809875"/>
              <a:chExt cx="1708150" cy="1697038"/>
            </a:xfrm>
          </p:grpSpPr>
          <p:sp>
            <p:nvSpPr>
              <p:cNvPr id="52" name="Freeform 28">
                <a:extLst>
                  <a:ext uri="{FF2B5EF4-FFF2-40B4-BE49-F238E27FC236}">
                    <a16:creationId xmlns:a16="http://schemas.microsoft.com/office/drawing/2014/main" id="{1C0040CD-2764-ACB9-87B6-CC6DB4104883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9229726" y="3671888"/>
                <a:ext cx="835025" cy="835025"/>
              </a:xfrm>
              <a:custGeom>
                <a:avLst/>
                <a:gdLst>
                  <a:gd name="T0" fmla="*/ 109 w 129"/>
                  <a:gd name="T1" fmla="*/ 20 h 129"/>
                  <a:gd name="T2" fmla="*/ 101 w 129"/>
                  <a:gd name="T3" fmla="*/ 0 h 129"/>
                  <a:gd name="T4" fmla="*/ 28 w 129"/>
                  <a:gd name="T5" fmla="*/ 41 h 129"/>
                  <a:gd name="T6" fmla="*/ 88 w 129"/>
                  <a:gd name="T7" fmla="*/ 101 h 129"/>
                  <a:gd name="T8" fmla="*/ 124 w 129"/>
                  <a:gd name="T9" fmla="*/ 47 h 129"/>
                  <a:gd name="T10" fmla="*/ 129 w 129"/>
                  <a:gd name="T11" fmla="*/ 28 h 129"/>
                  <a:gd name="T12" fmla="*/ 109 w 129"/>
                  <a:gd name="T13" fmla="*/ 2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9" h="129">
                    <a:moveTo>
                      <a:pt x="109" y="20"/>
                    </a:moveTo>
                    <a:cubicBezTo>
                      <a:pt x="104" y="14"/>
                      <a:pt x="101" y="7"/>
                      <a:pt x="101" y="0"/>
                    </a:cubicBezTo>
                    <a:cubicBezTo>
                      <a:pt x="73" y="6"/>
                      <a:pt x="48" y="20"/>
                      <a:pt x="28" y="41"/>
                    </a:cubicBezTo>
                    <a:cubicBezTo>
                      <a:pt x="0" y="67"/>
                      <a:pt x="61" y="129"/>
                      <a:pt x="88" y="101"/>
                    </a:cubicBezTo>
                    <a:cubicBezTo>
                      <a:pt x="105" y="86"/>
                      <a:pt x="117" y="68"/>
                      <a:pt x="124" y="47"/>
                    </a:cubicBezTo>
                    <a:cubicBezTo>
                      <a:pt x="126" y="41"/>
                      <a:pt x="128" y="35"/>
                      <a:pt x="129" y="28"/>
                    </a:cubicBezTo>
                    <a:cubicBezTo>
                      <a:pt x="122" y="28"/>
                      <a:pt x="115" y="25"/>
                      <a:pt x="109" y="20"/>
                    </a:cubicBezTo>
                    <a:close/>
                  </a:path>
                </a:pathLst>
              </a:custGeom>
              <a:solidFill>
                <a:srgbClr val="FFC8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29">
                <a:extLst>
                  <a:ext uri="{FF2B5EF4-FFF2-40B4-BE49-F238E27FC236}">
                    <a16:creationId xmlns:a16="http://schemas.microsoft.com/office/drawing/2014/main" id="{F431F8E1-384A-45F4-4BB3-3152135CBF1B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0096501" y="2809875"/>
                <a:ext cx="841375" cy="828675"/>
              </a:xfrm>
              <a:custGeom>
                <a:avLst/>
                <a:gdLst>
                  <a:gd name="T0" fmla="*/ 27 w 130"/>
                  <a:gd name="T1" fmla="*/ 128 h 128"/>
                  <a:gd name="T2" fmla="*/ 101 w 130"/>
                  <a:gd name="T3" fmla="*/ 88 h 128"/>
                  <a:gd name="T4" fmla="*/ 40 w 130"/>
                  <a:gd name="T5" fmla="*/ 28 h 128"/>
                  <a:gd name="T6" fmla="*/ 0 w 130"/>
                  <a:gd name="T7" fmla="*/ 101 h 128"/>
                  <a:gd name="T8" fmla="*/ 18 w 130"/>
                  <a:gd name="T9" fmla="*/ 110 h 128"/>
                  <a:gd name="T10" fmla="*/ 27 w 130"/>
                  <a:gd name="T11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0" h="128">
                    <a:moveTo>
                      <a:pt x="27" y="128"/>
                    </a:moveTo>
                    <a:cubicBezTo>
                      <a:pt x="55" y="124"/>
                      <a:pt x="81" y="110"/>
                      <a:pt x="101" y="88"/>
                    </a:cubicBezTo>
                    <a:cubicBezTo>
                      <a:pt x="130" y="61"/>
                      <a:pt x="67" y="0"/>
                      <a:pt x="40" y="28"/>
                    </a:cubicBezTo>
                    <a:cubicBezTo>
                      <a:pt x="19" y="48"/>
                      <a:pt x="5" y="73"/>
                      <a:pt x="0" y="101"/>
                    </a:cubicBezTo>
                    <a:cubicBezTo>
                      <a:pt x="7" y="102"/>
                      <a:pt x="13" y="105"/>
                      <a:pt x="18" y="110"/>
                    </a:cubicBezTo>
                    <a:cubicBezTo>
                      <a:pt x="24" y="115"/>
                      <a:pt x="26" y="122"/>
                      <a:pt x="27" y="128"/>
                    </a:cubicBezTo>
                    <a:close/>
                  </a:path>
                </a:pathLst>
              </a:custGeom>
              <a:solidFill>
                <a:srgbClr val="FFC8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30">
                <a:extLst>
                  <a:ext uri="{FF2B5EF4-FFF2-40B4-BE49-F238E27FC236}">
                    <a16:creationId xmlns:a16="http://schemas.microsoft.com/office/drawing/2014/main" id="{85D99CBC-367C-E320-837A-2F7486AC5906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0096501" y="3671888"/>
                <a:ext cx="841375" cy="835025"/>
              </a:xfrm>
              <a:custGeom>
                <a:avLst/>
                <a:gdLst>
                  <a:gd name="T0" fmla="*/ 0 w 130"/>
                  <a:gd name="T1" fmla="*/ 28 h 129"/>
                  <a:gd name="T2" fmla="*/ 6 w 130"/>
                  <a:gd name="T3" fmla="*/ 52 h 129"/>
                  <a:gd name="T4" fmla="*/ 40 w 130"/>
                  <a:gd name="T5" fmla="*/ 101 h 129"/>
                  <a:gd name="T6" fmla="*/ 102 w 130"/>
                  <a:gd name="T7" fmla="*/ 41 h 129"/>
                  <a:gd name="T8" fmla="*/ 27 w 130"/>
                  <a:gd name="T9" fmla="*/ 0 h 129"/>
                  <a:gd name="T10" fmla="*/ 18 w 130"/>
                  <a:gd name="T11" fmla="*/ 20 h 129"/>
                  <a:gd name="T12" fmla="*/ 0 w 130"/>
                  <a:gd name="T13" fmla="*/ 28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129">
                    <a:moveTo>
                      <a:pt x="0" y="28"/>
                    </a:moveTo>
                    <a:cubicBezTo>
                      <a:pt x="1" y="36"/>
                      <a:pt x="3" y="44"/>
                      <a:pt x="6" y="52"/>
                    </a:cubicBezTo>
                    <a:cubicBezTo>
                      <a:pt x="13" y="71"/>
                      <a:pt x="25" y="87"/>
                      <a:pt x="40" y="101"/>
                    </a:cubicBezTo>
                    <a:cubicBezTo>
                      <a:pt x="67" y="129"/>
                      <a:pt x="130" y="68"/>
                      <a:pt x="102" y="41"/>
                    </a:cubicBezTo>
                    <a:cubicBezTo>
                      <a:pt x="82" y="19"/>
                      <a:pt x="56" y="5"/>
                      <a:pt x="27" y="0"/>
                    </a:cubicBezTo>
                    <a:cubicBezTo>
                      <a:pt x="27" y="7"/>
                      <a:pt x="24" y="14"/>
                      <a:pt x="18" y="20"/>
                    </a:cubicBezTo>
                    <a:cubicBezTo>
                      <a:pt x="13" y="25"/>
                      <a:pt x="6" y="28"/>
                      <a:pt x="0" y="28"/>
                    </a:cubicBezTo>
                    <a:close/>
                  </a:path>
                </a:pathLst>
              </a:custGeom>
              <a:solidFill>
                <a:srgbClr val="FFC8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31">
                <a:extLst>
                  <a:ext uri="{FF2B5EF4-FFF2-40B4-BE49-F238E27FC236}">
                    <a16:creationId xmlns:a16="http://schemas.microsoft.com/office/drawing/2014/main" id="{2C675976-6F13-433F-D35F-151F32FED1C7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9236076" y="2816225"/>
                <a:ext cx="828675" cy="822325"/>
              </a:xfrm>
              <a:custGeom>
                <a:avLst/>
                <a:gdLst>
                  <a:gd name="T0" fmla="*/ 128 w 128"/>
                  <a:gd name="T1" fmla="*/ 100 h 127"/>
                  <a:gd name="T2" fmla="*/ 88 w 128"/>
                  <a:gd name="T3" fmla="*/ 27 h 127"/>
                  <a:gd name="T4" fmla="*/ 27 w 128"/>
                  <a:gd name="T5" fmla="*/ 87 h 127"/>
                  <a:gd name="T6" fmla="*/ 100 w 128"/>
                  <a:gd name="T7" fmla="*/ 127 h 127"/>
                  <a:gd name="T8" fmla="*/ 108 w 128"/>
                  <a:gd name="T9" fmla="*/ 109 h 127"/>
                  <a:gd name="T10" fmla="*/ 128 w 128"/>
                  <a:gd name="T11" fmla="*/ 10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8" h="127">
                    <a:moveTo>
                      <a:pt x="128" y="100"/>
                    </a:moveTo>
                    <a:cubicBezTo>
                      <a:pt x="123" y="72"/>
                      <a:pt x="109" y="47"/>
                      <a:pt x="88" y="27"/>
                    </a:cubicBezTo>
                    <a:cubicBezTo>
                      <a:pt x="61" y="0"/>
                      <a:pt x="0" y="60"/>
                      <a:pt x="27" y="87"/>
                    </a:cubicBezTo>
                    <a:cubicBezTo>
                      <a:pt x="47" y="108"/>
                      <a:pt x="72" y="122"/>
                      <a:pt x="100" y="127"/>
                    </a:cubicBezTo>
                    <a:cubicBezTo>
                      <a:pt x="101" y="120"/>
                      <a:pt x="103" y="114"/>
                      <a:pt x="108" y="109"/>
                    </a:cubicBezTo>
                    <a:cubicBezTo>
                      <a:pt x="114" y="103"/>
                      <a:pt x="121" y="100"/>
                      <a:pt x="128" y="100"/>
                    </a:cubicBezTo>
                    <a:close/>
                  </a:path>
                </a:pathLst>
              </a:custGeom>
              <a:solidFill>
                <a:srgbClr val="FFC8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56" name="girl_magnifier">
            <a:extLst>
              <a:ext uri="{FF2B5EF4-FFF2-40B4-BE49-F238E27FC236}">
                <a16:creationId xmlns:a16="http://schemas.microsoft.com/office/drawing/2014/main" id="{01D55B07-DE53-CE1F-2C0A-41C62605C6FB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10687364" y="3078697"/>
            <a:ext cx="957931" cy="1384365"/>
            <a:chOff x="2107556" y="2097156"/>
            <a:chExt cx="957931" cy="1384365"/>
          </a:xfrm>
        </p:grpSpPr>
        <p:sp>
          <p:nvSpPr>
            <p:cNvPr id="57" name="Freeform 21">
              <a:extLst>
                <a:ext uri="{FF2B5EF4-FFF2-40B4-BE49-F238E27FC236}">
                  <a16:creationId xmlns:a16="http://schemas.microsoft.com/office/drawing/2014/main" id="{3714921A-BFDB-A082-048A-B86335E78865}"/>
                </a:ext>
              </a:extLst>
            </p:cNvPr>
            <p:cNvSpPr>
              <a:spLocks noEditPoints="1"/>
            </p:cNvSpPr>
            <p:nvPr>
              <p:custDataLst>
                <p:tags r:id="rId26"/>
              </p:custDataLst>
            </p:nvPr>
          </p:nvSpPr>
          <p:spPr bwMode="auto">
            <a:xfrm>
              <a:off x="2107556" y="2097156"/>
              <a:ext cx="709178" cy="747032"/>
            </a:xfrm>
            <a:custGeom>
              <a:avLst/>
              <a:gdLst>
                <a:gd name="T0" fmla="*/ 52 w 225"/>
                <a:gd name="T1" fmla="*/ 43 h 237"/>
                <a:gd name="T2" fmla="*/ 52 w 225"/>
                <a:gd name="T3" fmla="*/ 44 h 237"/>
                <a:gd name="T4" fmla="*/ 52 w 225"/>
                <a:gd name="T5" fmla="*/ 44 h 237"/>
                <a:gd name="T6" fmla="*/ 4 w 225"/>
                <a:gd name="T7" fmla="*/ 120 h 237"/>
                <a:gd name="T8" fmla="*/ 0 w 225"/>
                <a:gd name="T9" fmla="*/ 151 h 237"/>
                <a:gd name="T10" fmla="*/ 7 w 225"/>
                <a:gd name="T11" fmla="*/ 187 h 237"/>
                <a:gd name="T12" fmla="*/ 12 w 225"/>
                <a:gd name="T13" fmla="*/ 196 h 237"/>
                <a:gd name="T14" fmla="*/ 12 w 225"/>
                <a:gd name="T15" fmla="*/ 197 h 237"/>
                <a:gd name="T16" fmla="*/ 203 w 225"/>
                <a:gd name="T17" fmla="*/ 154 h 237"/>
                <a:gd name="T18" fmla="*/ 225 w 225"/>
                <a:gd name="T19" fmla="*/ 79 h 237"/>
                <a:gd name="T20" fmla="*/ 210 w 225"/>
                <a:gd name="T21" fmla="*/ 16 h 237"/>
                <a:gd name="T22" fmla="*/ 207 w 225"/>
                <a:gd name="T23" fmla="*/ 14 h 237"/>
                <a:gd name="T24" fmla="*/ 156 w 225"/>
                <a:gd name="T25" fmla="*/ 1 h 237"/>
                <a:gd name="T26" fmla="*/ 108 w 225"/>
                <a:gd name="T27" fmla="*/ 9 h 237"/>
                <a:gd name="T28" fmla="*/ 62 w 225"/>
                <a:gd name="T29" fmla="*/ 35 h 237"/>
                <a:gd name="T30" fmla="*/ 52 w 225"/>
                <a:gd name="T31" fmla="*/ 43 h 237"/>
                <a:gd name="T32" fmla="*/ 148 w 225"/>
                <a:gd name="T33" fmla="*/ 57 h 237"/>
                <a:gd name="T34" fmla="*/ 191 w 225"/>
                <a:gd name="T35" fmla="*/ 82 h 237"/>
                <a:gd name="T36" fmla="*/ 200 w 225"/>
                <a:gd name="T37" fmla="*/ 133 h 237"/>
                <a:gd name="T38" fmla="*/ 168 w 225"/>
                <a:gd name="T39" fmla="*/ 181 h 237"/>
                <a:gd name="T40" fmla="*/ 115 w 225"/>
                <a:gd name="T41" fmla="*/ 198 h 237"/>
                <a:gd name="T42" fmla="*/ 71 w 225"/>
                <a:gd name="T43" fmla="*/ 173 h 237"/>
                <a:gd name="T44" fmla="*/ 62 w 225"/>
                <a:gd name="T45" fmla="*/ 122 h 237"/>
                <a:gd name="T46" fmla="*/ 94 w 225"/>
                <a:gd name="T47" fmla="*/ 74 h 237"/>
                <a:gd name="T48" fmla="*/ 148 w 225"/>
                <a:gd name="T49" fmla="*/ 5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5" h="237">
                  <a:moveTo>
                    <a:pt x="52" y="43"/>
                  </a:moveTo>
                  <a:cubicBezTo>
                    <a:pt x="52" y="43"/>
                    <a:pt x="52" y="43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29" y="64"/>
                    <a:pt x="13" y="90"/>
                    <a:pt x="4" y="120"/>
                  </a:cubicBezTo>
                  <a:cubicBezTo>
                    <a:pt x="1" y="131"/>
                    <a:pt x="0" y="141"/>
                    <a:pt x="0" y="151"/>
                  </a:cubicBezTo>
                  <a:cubicBezTo>
                    <a:pt x="0" y="164"/>
                    <a:pt x="2" y="176"/>
                    <a:pt x="7" y="187"/>
                  </a:cubicBezTo>
                  <a:cubicBezTo>
                    <a:pt x="8" y="190"/>
                    <a:pt x="10" y="193"/>
                    <a:pt x="12" y="196"/>
                  </a:cubicBezTo>
                  <a:cubicBezTo>
                    <a:pt x="12" y="196"/>
                    <a:pt x="12" y="197"/>
                    <a:pt x="12" y="197"/>
                  </a:cubicBezTo>
                  <a:cubicBezTo>
                    <a:pt x="77" y="237"/>
                    <a:pt x="162" y="218"/>
                    <a:pt x="203" y="154"/>
                  </a:cubicBezTo>
                  <a:cubicBezTo>
                    <a:pt x="217" y="132"/>
                    <a:pt x="225" y="106"/>
                    <a:pt x="225" y="79"/>
                  </a:cubicBezTo>
                  <a:cubicBezTo>
                    <a:pt x="225" y="57"/>
                    <a:pt x="220" y="36"/>
                    <a:pt x="210" y="16"/>
                  </a:cubicBezTo>
                  <a:cubicBezTo>
                    <a:pt x="209" y="15"/>
                    <a:pt x="208" y="14"/>
                    <a:pt x="207" y="14"/>
                  </a:cubicBezTo>
                  <a:cubicBezTo>
                    <a:pt x="191" y="5"/>
                    <a:pt x="173" y="0"/>
                    <a:pt x="156" y="1"/>
                  </a:cubicBezTo>
                  <a:cubicBezTo>
                    <a:pt x="139" y="0"/>
                    <a:pt x="123" y="3"/>
                    <a:pt x="108" y="9"/>
                  </a:cubicBezTo>
                  <a:cubicBezTo>
                    <a:pt x="92" y="15"/>
                    <a:pt x="77" y="24"/>
                    <a:pt x="62" y="35"/>
                  </a:cubicBezTo>
                  <a:cubicBezTo>
                    <a:pt x="59" y="38"/>
                    <a:pt x="56" y="40"/>
                    <a:pt x="52" y="43"/>
                  </a:cubicBezTo>
                  <a:close/>
                  <a:moveTo>
                    <a:pt x="148" y="57"/>
                  </a:moveTo>
                  <a:cubicBezTo>
                    <a:pt x="165" y="58"/>
                    <a:pt x="181" y="67"/>
                    <a:pt x="191" y="82"/>
                  </a:cubicBezTo>
                  <a:cubicBezTo>
                    <a:pt x="202" y="97"/>
                    <a:pt x="205" y="115"/>
                    <a:pt x="200" y="133"/>
                  </a:cubicBezTo>
                  <a:cubicBezTo>
                    <a:pt x="196" y="152"/>
                    <a:pt x="184" y="169"/>
                    <a:pt x="168" y="181"/>
                  </a:cubicBezTo>
                  <a:cubicBezTo>
                    <a:pt x="153" y="193"/>
                    <a:pt x="134" y="199"/>
                    <a:pt x="115" y="198"/>
                  </a:cubicBezTo>
                  <a:cubicBezTo>
                    <a:pt x="97" y="197"/>
                    <a:pt x="81" y="188"/>
                    <a:pt x="71" y="173"/>
                  </a:cubicBezTo>
                  <a:cubicBezTo>
                    <a:pt x="60" y="158"/>
                    <a:pt x="57" y="140"/>
                    <a:pt x="62" y="122"/>
                  </a:cubicBezTo>
                  <a:cubicBezTo>
                    <a:pt x="67" y="103"/>
                    <a:pt x="78" y="85"/>
                    <a:pt x="94" y="74"/>
                  </a:cubicBezTo>
                  <a:cubicBezTo>
                    <a:pt x="109" y="62"/>
                    <a:pt x="128" y="56"/>
                    <a:pt x="148" y="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5D08597F-AB85-3B9B-82D7-E386E6CDE822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876218" y="3292252"/>
              <a:ext cx="189269" cy="189269"/>
            </a:xfrm>
            <a:custGeom>
              <a:avLst/>
              <a:gdLst>
                <a:gd name="T0" fmla="*/ 28 w 60"/>
                <a:gd name="T1" fmla="*/ 60 h 60"/>
                <a:gd name="T2" fmla="*/ 33 w 60"/>
                <a:gd name="T3" fmla="*/ 60 h 60"/>
                <a:gd name="T4" fmla="*/ 51 w 60"/>
                <a:gd name="T5" fmla="*/ 52 h 60"/>
                <a:gd name="T6" fmla="*/ 60 w 60"/>
                <a:gd name="T7" fmla="*/ 32 h 60"/>
                <a:gd name="T8" fmla="*/ 60 w 60"/>
                <a:gd name="T9" fmla="*/ 27 h 60"/>
                <a:gd name="T10" fmla="*/ 51 w 60"/>
                <a:gd name="T11" fmla="*/ 9 h 60"/>
                <a:gd name="T12" fmla="*/ 33 w 60"/>
                <a:gd name="T13" fmla="*/ 0 h 60"/>
                <a:gd name="T14" fmla="*/ 28 w 60"/>
                <a:gd name="T15" fmla="*/ 0 h 60"/>
                <a:gd name="T16" fmla="*/ 8 w 60"/>
                <a:gd name="T17" fmla="*/ 9 h 60"/>
                <a:gd name="T18" fmla="*/ 0 w 60"/>
                <a:gd name="T19" fmla="*/ 27 h 60"/>
                <a:gd name="T20" fmla="*/ 0 w 60"/>
                <a:gd name="T21" fmla="*/ 32 h 60"/>
                <a:gd name="T22" fmla="*/ 8 w 60"/>
                <a:gd name="T23" fmla="*/ 52 h 60"/>
                <a:gd name="T24" fmla="*/ 28 w 60"/>
                <a:gd name="T2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60">
                  <a:moveTo>
                    <a:pt x="28" y="60"/>
                  </a:moveTo>
                  <a:cubicBezTo>
                    <a:pt x="30" y="60"/>
                    <a:pt x="31" y="60"/>
                    <a:pt x="33" y="60"/>
                  </a:cubicBezTo>
                  <a:cubicBezTo>
                    <a:pt x="39" y="60"/>
                    <a:pt x="46" y="57"/>
                    <a:pt x="51" y="52"/>
                  </a:cubicBezTo>
                  <a:cubicBezTo>
                    <a:pt x="57" y="46"/>
                    <a:pt x="60" y="39"/>
                    <a:pt x="60" y="32"/>
                  </a:cubicBezTo>
                  <a:cubicBezTo>
                    <a:pt x="60" y="30"/>
                    <a:pt x="60" y="29"/>
                    <a:pt x="60" y="27"/>
                  </a:cubicBezTo>
                  <a:cubicBezTo>
                    <a:pt x="59" y="21"/>
                    <a:pt x="57" y="14"/>
                    <a:pt x="51" y="9"/>
                  </a:cubicBezTo>
                  <a:cubicBezTo>
                    <a:pt x="46" y="4"/>
                    <a:pt x="40" y="1"/>
                    <a:pt x="33" y="0"/>
                  </a:cubicBezTo>
                  <a:cubicBezTo>
                    <a:pt x="31" y="0"/>
                    <a:pt x="30" y="0"/>
                    <a:pt x="28" y="0"/>
                  </a:cubicBezTo>
                  <a:cubicBezTo>
                    <a:pt x="21" y="0"/>
                    <a:pt x="14" y="3"/>
                    <a:pt x="8" y="9"/>
                  </a:cubicBezTo>
                  <a:cubicBezTo>
                    <a:pt x="3" y="14"/>
                    <a:pt x="1" y="20"/>
                    <a:pt x="0" y="27"/>
                  </a:cubicBezTo>
                  <a:cubicBezTo>
                    <a:pt x="0" y="29"/>
                    <a:pt x="0" y="31"/>
                    <a:pt x="0" y="32"/>
                  </a:cubicBezTo>
                  <a:cubicBezTo>
                    <a:pt x="0" y="39"/>
                    <a:pt x="3" y="46"/>
                    <a:pt x="8" y="52"/>
                  </a:cubicBezTo>
                  <a:cubicBezTo>
                    <a:pt x="14" y="57"/>
                    <a:pt x="21" y="60"/>
                    <a:pt x="28" y="6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9" name="girl_magnifier">
            <a:extLst>
              <a:ext uri="{FF2B5EF4-FFF2-40B4-BE49-F238E27FC236}">
                <a16:creationId xmlns:a16="http://schemas.microsoft.com/office/drawing/2014/main" id="{E8E71809-CEFE-9374-4393-C6F8D78E453A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9154675" y="3043933"/>
            <a:ext cx="1791485" cy="2456629"/>
            <a:chOff x="5154613" y="936625"/>
            <a:chExt cx="3681413" cy="5048250"/>
          </a:xfrm>
        </p:grpSpPr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B12F7661-DA53-DD51-C085-DDB19F5198FE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7515226" y="936625"/>
              <a:ext cx="763588" cy="1114425"/>
            </a:xfrm>
            <a:custGeom>
              <a:avLst/>
              <a:gdLst>
                <a:gd name="T0" fmla="*/ 86 w 118"/>
                <a:gd name="T1" fmla="*/ 98 h 172"/>
                <a:gd name="T2" fmla="*/ 100 w 118"/>
                <a:gd name="T3" fmla="*/ 62 h 172"/>
                <a:gd name="T4" fmla="*/ 100 w 118"/>
                <a:gd name="T5" fmla="*/ 63 h 172"/>
                <a:gd name="T6" fmla="*/ 100 w 118"/>
                <a:gd name="T7" fmla="*/ 62 h 172"/>
                <a:gd name="T8" fmla="*/ 118 w 118"/>
                <a:gd name="T9" fmla="*/ 36 h 172"/>
                <a:gd name="T10" fmla="*/ 89 w 118"/>
                <a:gd name="T11" fmla="*/ 9 h 172"/>
                <a:gd name="T12" fmla="*/ 100 w 118"/>
                <a:gd name="T13" fmla="*/ 38 h 172"/>
                <a:gd name="T14" fmla="*/ 53 w 118"/>
                <a:gd name="T15" fmla="*/ 0 h 172"/>
                <a:gd name="T16" fmla="*/ 61 w 118"/>
                <a:gd name="T17" fmla="*/ 17 h 172"/>
                <a:gd name="T18" fmla="*/ 46 w 118"/>
                <a:gd name="T19" fmla="*/ 6 h 172"/>
                <a:gd name="T20" fmla="*/ 0 w 118"/>
                <a:gd name="T21" fmla="*/ 135 h 172"/>
                <a:gd name="T22" fmla="*/ 22 w 118"/>
                <a:gd name="T23" fmla="*/ 156 h 172"/>
                <a:gd name="T24" fmla="*/ 24 w 118"/>
                <a:gd name="T25" fmla="*/ 157 h 172"/>
                <a:gd name="T26" fmla="*/ 77 w 118"/>
                <a:gd name="T27" fmla="*/ 172 h 172"/>
                <a:gd name="T28" fmla="*/ 88 w 118"/>
                <a:gd name="T29" fmla="*/ 171 h 172"/>
                <a:gd name="T30" fmla="*/ 86 w 118"/>
                <a:gd name="T31" fmla="*/ 98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72">
                  <a:moveTo>
                    <a:pt x="86" y="98"/>
                  </a:moveTo>
                  <a:cubicBezTo>
                    <a:pt x="89" y="86"/>
                    <a:pt x="93" y="74"/>
                    <a:pt x="100" y="62"/>
                  </a:cubicBezTo>
                  <a:cubicBezTo>
                    <a:pt x="100" y="63"/>
                    <a:pt x="100" y="63"/>
                    <a:pt x="100" y="63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06" y="53"/>
                    <a:pt x="112" y="44"/>
                    <a:pt x="118" y="36"/>
                  </a:cubicBezTo>
                  <a:cubicBezTo>
                    <a:pt x="108" y="30"/>
                    <a:pt x="96" y="21"/>
                    <a:pt x="89" y="9"/>
                  </a:cubicBezTo>
                  <a:cubicBezTo>
                    <a:pt x="88" y="10"/>
                    <a:pt x="98" y="36"/>
                    <a:pt x="100" y="38"/>
                  </a:cubicBezTo>
                  <a:cubicBezTo>
                    <a:pt x="86" y="36"/>
                    <a:pt x="65" y="15"/>
                    <a:pt x="53" y="0"/>
                  </a:cubicBezTo>
                  <a:cubicBezTo>
                    <a:pt x="53" y="0"/>
                    <a:pt x="59" y="16"/>
                    <a:pt x="61" y="17"/>
                  </a:cubicBezTo>
                  <a:cubicBezTo>
                    <a:pt x="62" y="18"/>
                    <a:pt x="59" y="17"/>
                    <a:pt x="46" y="6"/>
                  </a:cubicBezTo>
                  <a:cubicBezTo>
                    <a:pt x="16" y="45"/>
                    <a:pt x="5" y="99"/>
                    <a:pt x="0" y="135"/>
                  </a:cubicBezTo>
                  <a:cubicBezTo>
                    <a:pt x="6" y="143"/>
                    <a:pt x="14" y="150"/>
                    <a:pt x="22" y="156"/>
                  </a:cubicBezTo>
                  <a:cubicBezTo>
                    <a:pt x="23" y="156"/>
                    <a:pt x="24" y="156"/>
                    <a:pt x="24" y="157"/>
                  </a:cubicBezTo>
                  <a:cubicBezTo>
                    <a:pt x="40" y="167"/>
                    <a:pt x="59" y="172"/>
                    <a:pt x="77" y="172"/>
                  </a:cubicBezTo>
                  <a:cubicBezTo>
                    <a:pt x="81" y="172"/>
                    <a:pt x="85" y="171"/>
                    <a:pt x="88" y="171"/>
                  </a:cubicBezTo>
                  <a:cubicBezTo>
                    <a:pt x="79" y="150"/>
                    <a:pt x="78" y="126"/>
                    <a:pt x="86" y="98"/>
                  </a:cubicBezTo>
                  <a:close/>
                </a:path>
              </a:pathLst>
            </a:custGeom>
            <a:solidFill>
              <a:srgbClr val="F4E7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5">
              <a:extLst>
                <a:ext uri="{FF2B5EF4-FFF2-40B4-BE49-F238E27FC236}">
                  <a16:creationId xmlns:a16="http://schemas.microsoft.com/office/drawing/2014/main" id="{C9EF2105-27F8-17D7-D100-43F3F0AE8D93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5154613" y="2492375"/>
              <a:ext cx="1001713" cy="1289050"/>
            </a:xfrm>
            <a:custGeom>
              <a:avLst/>
              <a:gdLst>
                <a:gd name="T0" fmla="*/ 119 w 155"/>
                <a:gd name="T1" fmla="*/ 7 h 199"/>
                <a:gd name="T2" fmla="*/ 92 w 155"/>
                <a:gd name="T3" fmla="*/ 27 h 199"/>
                <a:gd name="T4" fmla="*/ 7 w 155"/>
                <a:gd name="T5" fmla="*/ 171 h 199"/>
                <a:gd name="T6" fmla="*/ 38 w 155"/>
                <a:gd name="T7" fmla="*/ 199 h 199"/>
                <a:gd name="T8" fmla="*/ 42 w 155"/>
                <a:gd name="T9" fmla="*/ 199 h 199"/>
                <a:gd name="T10" fmla="*/ 70 w 155"/>
                <a:gd name="T11" fmla="*/ 163 h 199"/>
                <a:gd name="T12" fmla="*/ 129 w 155"/>
                <a:gd name="T13" fmla="*/ 79 h 199"/>
                <a:gd name="T14" fmla="*/ 155 w 155"/>
                <a:gd name="T15" fmla="*/ 59 h 199"/>
                <a:gd name="T16" fmla="*/ 127 w 155"/>
                <a:gd name="T17" fmla="*/ 0 h 199"/>
                <a:gd name="T18" fmla="*/ 119 w 155"/>
                <a:gd name="T19" fmla="*/ 7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5" h="199">
                  <a:moveTo>
                    <a:pt x="119" y="7"/>
                  </a:moveTo>
                  <a:cubicBezTo>
                    <a:pt x="110" y="14"/>
                    <a:pt x="101" y="21"/>
                    <a:pt x="92" y="27"/>
                  </a:cubicBezTo>
                  <a:cubicBezTo>
                    <a:pt x="45" y="61"/>
                    <a:pt x="0" y="118"/>
                    <a:pt x="7" y="171"/>
                  </a:cubicBezTo>
                  <a:cubicBezTo>
                    <a:pt x="9" y="187"/>
                    <a:pt x="23" y="199"/>
                    <a:pt x="38" y="199"/>
                  </a:cubicBezTo>
                  <a:cubicBezTo>
                    <a:pt x="39" y="199"/>
                    <a:pt x="41" y="199"/>
                    <a:pt x="42" y="199"/>
                  </a:cubicBezTo>
                  <a:cubicBezTo>
                    <a:pt x="59" y="196"/>
                    <a:pt x="72" y="181"/>
                    <a:pt x="70" y="163"/>
                  </a:cubicBezTo>
                  <a:cubicBezTo>
                    <a:pt x="67" y="144"/>
                    <a:pt x="89" y="107"/>
                    <a:pt x="129" y="79"/>
                  </a:cubicBezTo>
                  <a:cubicBezTo>
                    <a:pt x="138" y="73"/>
                    <a:pt x="147" y="66"/>
                    <a:pt x="155" y="59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4" y="3"/>
                    <a:pt x="121" y="5"/>
                    <a:pt x="119" y="7"/>
                  </a:cubicBezTo>
                  <a:close/>
                </a:path>
              </a:pathLst>
            </a:custGeom>
            <a:solidFill>
              <a:srgbClr val="F4E7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A0D3CD21-A922-0EE5-84B0-ABBA8D2042EF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7767638" y="2641600"/>
              <a:ext cx="1068388" cy="635000"/>
            </a:xfrm>
            <a:custGeom>
              <a:avLst/>
              <a:gdLst>
                <a:gd name="T0" fmla="*/ 97 w 165"/>
                <a:gd name="T1" fmla="*/ 40 h 98"/>
                <a:gd name="T2" fmla="*/ 93 w 165"/>
                <a:gd name="T3" fmla="*/ 40 h 98"/>
                <a:gd name="T4" fmla="*/ 93 w 165"/>
                <a:gd name="T5" fmla="*/ 40 h 98"/>
                <a:gd name="T6" fmla="*/ 91 w 165"/>
                <a:gd name="T7" fmla="*/ 40 h 98"/>
                <a:gd name="T8" fmla="*/ 88 w 165"/>
                <a:gd name="T9" fmla="*/ 39 h 98"/>
                <a:gd name="T10" fmla="*/ 78 w 165"/>
                <a:gd name="T11" fmla="*/ 38 h 98"/>
                <a:gd name="T12" fmla="*/ 74 w 165"/>
                <a:gd name="T13" fmla="*/ 38 h 98"/>
                <a:gd name="T14" fmla="*/ 65 w 165"/>
                <a:gd name="T15" fmla="*/ 36 h 98"/>
                <a:gd name="T16" fmla="*/ 60 w 165"/>
                <a:gd name="T17" fmla="*/ 35 h 98"/>
                <a:gd name="T18" fmla="*/ 56 w 165"/>
                <a:gd name="T19" fmla="*/ 34 h 98"/>
                <a:gd name="T20" fmla="*/ 40 w 165"/>
                <a:gd name="T21" fmla="*/ 31 h 98"/>
                <a:gd name="T22" fmla="*/ 40 w 165"/>
                <a:gd name="T23" fmla="*/ 31 h 98"/>
                <a:gd name="T24" fmla="*/ 36 w 165"/>
                <a:gd name="T25" fmla="*/ 30 h 98"/>
                <a:gd name="T26" fmla="*/ 15 w 165"/>
                <a:gd name="T27" fmla="*/ 33 h 98"/>
                <a:gd name="T28" fmla="*/ 2 w 165"/>
                <a:gd name="T29" fmla="*/ 50 h 98"/>
                <a:gd name="T30" fmla="*/ 4 w 165"/>
                <a:gd name="T31" fmla="*/ 70 h 98"/>
                <a:gd name="T32" fmla="*/ 4 w 165"/>
                <a:gd name="T33" fmla="*/ 70 h 98"/>
                <a:gd name="T34" fmla="*/ 5 w 165"/>
                <a:gd name="T35" fmla="*/ 72 h 98"/>
                <a:gd name="T36" fmla="*/ 13 w 165"/>
                <a:gd name="T37" fmla="*/ 81 h 98"/>
                <a:gd name="T38" fmla="*/ 13 w 165"/>
                <a:gd name="T39" fmla="*/ 81 h 98"/>
                <a:gd name="T40" fmla="*/ 23 w 165"/>
                <a:gd name="T41" fmla="*/ 85 h 98"/>
                <a:gd name="T42" fmla="*/ 103 w 165"/>
                <a:gd name="T43" fmla="*/ 97 h 98"/>
                <a:gd name="T44" fmla="*/ 151 w 165"/>
                <a:gd name="T45" fmla="*/ 78 h 98"/>
                <a:gd name="T46" fmla="*/ 152 w 165"/>
                <a:gd name="T47" fmla="*/ 22 h 98"/>
                <a:gd name="T48" fmla="*/ 137 w 165"/>
                <a:gd name="T49" fmla="*/ 0 h 98"/>
                <a:gd name="T50" fmla="*/ 95 w 165"/>
                <a:gd name="T51" fmla="*/ 38 h 98"/>
                <a:gd name="T52" fmla="*/ 97 w 165"/>
                <a:gd name="T53" fmla="*/ 4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5" h="98">
                  <a:moveTo>
                    <a:pt x="97" y="40"/>
                  </a:moveTo>
                  <a:cubicBezTo>
                    <a:pt x="96" y="40"/>
                    <a:pt x="94" y="40"/>
                    <a:pt x="93" y="40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92" y="40"/>
                    <a:pt x="92" y="40"/>
                    <a:pt x="91" y="40"/>
                  </a:cubicBezTo>
                  <a:cubicBezTo>
                    <a:pt x="90" y="40"/>
                    <a:pt x="89" y="39"/>
                    <a:pt x="88" y="39"/>
                  </a:cubicBezTo>
                  <a:cubicBezTo>
                    <a:pt x="85" y="39"/>
                    <a:pt x="82" y="39"/>
                    <a:pt x="78" y="38"/>
                  </a:cubicBezTo>
                  <a:cubicBezTo>
                    <a:pt x="77" y="38"/>
                    <a:pt x="75" y="38"/>
                    <a:pt x="74" y="38"/>
                  </a:cubicBezTo>
                  <a:cubicBezTo>
                    <a:pt x="71" y="37"/>
                    <a:pt x="68" y="37"/>
                    <a:pt x="65" y="36"/>
                  </a:cubicBezTo>
                  <a:cubicBezTo>
                    <a:pt x="63" y="36"/>
                    <a:pt x="61" y="36"/>
                    <a:pt x="60" y="35"/>
                  </a:cubicBezTo>
                  <a:cubicBezTo>
                    <a:pt x="58" y="35"/>
                    <a:pt x="57" y="35"/>
                    <a:pt x="56" y="34"/>
                  </a:cubicBezTo>
                  <a:cubicBezTo>
                    <a:pt x="50" y="33"/>
                    <a:pt x="45" y="32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39" y="31"/>
                    <a:pt x="37" y="30"/>
                    <a:pt x="36" y="30"/>
                  </a:cubicBezTo>
                  <a:cubicBezTo>
                    <a:pt x="29" y="28"/>
                    <a:pt x="21" y="30"/>
                    <a:pt x="15" y="33"/>
                  </a:cubicBezTo>
                  <a:cubicBezTo>
                    <a:pt x="8" y="37"/>
                    <a:pt x="3" y="43"/>
                    <a:pt x="2" y="50"/>
                  </a:cubicBezTo>
                  <a:cubicBezTo>
                    <a:pt x="0" y="57"/>
                    <a:pt x="1" y="64"/>
                    <a:pt x="4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1"/>
                    <a:pt x="5" y="71"/>
                    <a:pt x="5" y="72"/>
                  </a:cubicBezTo>
                  <a:cubicBezTo>
                    <a:pt x="7" y="76"/>
                    <a:pt x="10" y="78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6" y="83"/>
                    <a:pt x="19" y="85"/>
                    <a:pt x="23" y="85"/>
                  </a:cubicBezTo>
                  <a:cubicBezTo>
                    <a:pt x="58" y="94"/>
                    <a:pt x="85" y="98"/>
                    <a:pt x="103" y="97"/>
                  </a:cubicBezTo>
                  <a:cubicBezTo>
                    <a:pt x="124" y="96"/>
                    <a:pt x="140" y="90"/>
                    <a:pt x="151" y="78"/>
                  </a:cubicBezTo>
                  <a:cubicBezTo>
                    <a:pt x="164" y="64"/>
                    <a:pt x="165" y="44"/>
                    <a:pt x="152" y="22"/>
                  </a:cubicBezTo>
                  <a:cubicBezTo>
                    <a:pt x="148" y="14"/>
                    <a:pt x="142" y="7"/>
                    <a:pt x="137" y="0"/>
                  </a:cubicBezTo>
                  <a:cubicBezTo>
                    <a:pt x="95" y="38"/>
                    <a:pt x="95" y="38"/>
                    <a:pt x="95" y="38"/>
                  </a:cubicBezTo>
                  <a:lnTo>
                    <a:pt x="97" y="40"/>
                  </a:lnTo>
                  <a:close/>
                </a:path>
              </a:pathLst>
            </a:custGeom>
            <a:solidFill>
              <a:srgbClr val="F4E7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33">
              <a:extLst>
                <a:ext uri="{FF2B5EF4-FFF2-40B4-BE49-F238E27FC236}">
                  <a16:creationId xmlns:a16="http://schemas.microsoft.com/office/drawing/2014/main" id="{7BE9914F-333E-EAFD-C783-E0EFB8FCFF78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6538913" y="4565650"/>
              <a:ext cx="504825" cy="1419225"/>
            </a:xfrm>
            <a:custGeom>
              <a:avLst/>
              <a:gdLst>
                <a:gd name="T0" fmla="*/ 21 w 78"/>
                <a:gd name="T1" fmla="*/ 0 h 219"/>
                <a:gd name="T2" fmla="*/ 0 w 78"/>
                <a:gd name="T3" fmla="*/ 200 h 219"/>
                <a:gd name="T4" fmla="*/ 5 w 78"/>
                <a:gd name="T5" fmla="*/ 218 h 219"/>
                <a:gd name="T6" fmla="*/ 44 w 78"/>
                <a:gd name="T7" fmla="*/ 216 h 219"/>
                <a:gd name="T8" fmla="*/ 52 w 78"/>
                <a:gd name="T9" fmla="*/ 219 h 219"/>
                <a:gd name="T10" fmla="*/ 57 w 78"/>
                <a:gd name="T11" fmla="*/ 206 h 219"/>
                <a:gd name="T12" fmla="*/ 78 w 78"/>
                <a:gd name="T13" fmla="*/ 1 h 219"/>
                <a:gd name="T14" fmla="*/ 21 w 78"/>
                <a:gd name="T1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219">
                  <a:moveTo>
                    <a:pt x="21" y="0"/>
                  </a:moveTo>
                  <a:cubicBezTo>
                    <a:pt x="0" y="200"/>
                    <a:pt x="0" y="200"/>
                    <a:pt x="0" y="200"/>
                  </a:cubicBezTo>
                  <a:cubicBezTo>
                    <a:pt x="0" y="207"/>
                    <a:pt x="1" y="213"/>
                    <a:pt x="5" y="218"/>
                  </a:cubicBezTo>
                  <a:cubicBezTo>
                    <a:pt x="13" y="215"/>
                    <a:pt x="26" y="215"/>
                    <a:pt x="44" y="216"/>
                  </a:cubicBezTo>
                  <a:cubicBezTo>
                    <a:pt x="44" y="216"/>
                    <a:pt x="47" y="217"/>
                    <a:pt x="52" y="219"/>
                  </a:cubicBezTo>
                  <a:cubicBezTo>
                    <a:pt x="55" y="215"/>
                    <a:pt x="56" y="211"/>
                    <a:pt x="57" y="206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59" y="0"/>
                    <a:pt x="40" y="0"/>
                    <a:pt x="21" y="0"/>
                  </a:cubicBezTo>
                  <a:close/>
                </a:path>
              </a:pathLst>
            </a:custGeom>
            <a:solidFill>
              <a:srgbClr val="F4E7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34">
              <a:extLst>
                <a:ext uri="{FF2B5EF4-FFF2-40B4-BE49-F238E27FC236}">
                  <a16:creationId xmlns:a16="http://schemas.microsoft.com/office/drawing/2014/main" id="{D3422B09-727B-EC23-6BE7-A7195EC3F360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7262813" y="4584700"/>
              <a:ext cx="504825" cy="1335088"/>
            </a:xfrm>
            <a:custGeom>
              <a:avLst/>
              <a:gdLst>
                <a:gd name="T0" fmla="*/ 0 w 78"/>
                <a:gd name="T1" fmla="*/ 0 h 206"/>
                <a:gd name="T2" fmla="*/ 21 w 78"/>
                <a:gd name="T3" fmla="*/ 196 h 206"/>
                <a:gd name="T4" fmla="*/ 25 w 78"/>
                <a:gd name="T5" fmla="*/ 206 h 206"/>
                <a:gd name="T6" fmla="*/ 64 w 78"/>
                <a:gd name="T7" fmla="*/ 201 h 206"/>
                <a:gd name="T8" fmla="*/ 75 w 78"/>
                <a:gd name="T9" fmla="*/ 205 h 206"/>
                <a:gd name="T10" fmla="*/ 78 w 78"/>
                <a:gd name="T11" fmla="*/ 189 h 206"/>
                <a:gd name="T12" fmla="*/ 58 w 78"/>
                <a:gd name="T13" fmla="*/ 13 h 206"/>
                <a:gd name="T14" fmla="*/ 21 w 78"/>
                <a:gd name="T15" fmla="*/ 3 h 206"/>
                <a:gd name="T16" fmla="*/ 0 w 78"/>
                <a:gd name="T17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206">
                  <a:moveTo>
                    <a:pt x="0" y="0"/>
                  </a:moveTo>
                  <a:cubicBezTo>
                    <a:pt x="21" y="196"/>
                    <a:pt x="21" y="196"/>
                    <a:pt x="21" y="196"/>
                  </a:cubicBezTo>
                  <a:cubicBezTo>
                    <a:pt x="22" y="199"/>
                    <a:pt x="23" y="203"/>
                    <a:pt x="25" y="206"/>
                  </a:cubicBezTo>
                  <a:cubicBezTo>
                    <a:pt x="33" y="203"/>
                    <a:pt x="45" y="201"/>
                    <a:pt x="64" y="201"/>
                  </a:cubicBezTo>
                  <a:cubicBezTo>
                    <a:pt x="64" y="201"/>
                    <a:pt x="68" y="203"/>
                    <a:pt x="75" y="205"/>
                  </a:cubicBezTo>
                  <a:cubicBezTo>
                    <a:pt x="77" y="200"/>
                    <a:pt x="78" y="195"/>
                    <a:pt x="78" y="189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45" y="9"/>
                    <a:pt x="32" y="5"/>
                    <a:pt x="21" y="3"/>
                  </a:cubicBezTo>
                  <a:cubicBezTo>
                    <a:pt x="14" y="2"/>
                    <a:pt x="7" y="1"/>
                    <a:pt x="0" y="0"/>
                  </a:cubicBezTo>
                  <a:close/>
                </a:path>
              </a:pathLst>
            </a:custGeom>
            <a:solidFill>
              <a:srgbClr val="F4E7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5" name="girl_magnifier">
            <a:extLst>
              <a:ext uri="{FF2B5EF4-FFF2-40B4-BE49-F238E27FC236}">
                <a16:creationId xmlns:a16="http://schemas.microsoft.com/office/drawing/2014/main" id="{6AECDD9A-C800-33B3-3918-DBF47029AF0B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9778103" y="3078697"/>
            <a:ext cx="1703417" cy="2582551"/>
            <a:chOff x="1198295" y="2097156"/>
            <a:chExt cx="1703417" cy="2582551"/>
          </a:xfrm>
        </p:grpSpPr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id="{8FFA47EF-E6B8-FE76-13E7-D86F48F2DC34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145410" y="2097156"/>
              <a:ext cx="756302" cy="753984"/>
            </a:xfrm>
            <a:custGeom>
              <a:avLst/>
              <a:gdLst>
                <a:gd name="T0" fmla="*/ 195 w 240"/>
                <a:gd name="T1" fmla="*/ 14 h 239"/>
                <a:gd name="T2" fmla="*/ 198 w 240"/>
                <a:gd name="T3" fmla="*/ 16 h 239"/>
                <a:gd name="T4" fmla="*/ 213 w 240"/>
                <a:gd name="T5" fmla="*/ 79 h 239"/>
                <a:gd name="T6" fmla="*/ 191 w 240"/>
                <a:gd name="T7" fmla="*/ 154 h 239"/>
                <a:gd name="T8" fmla="*/ 0 w 240"/>
                <a:gd name="T9" fmla="*/ 197 h 239"/>
                <a:gd name="T10" fmla="*/ 1 w 240"/>
                <a:gd name="T11" fmla="*/ 199 h 239"/>
                <a:gd name="T12" fmla="*/ 5 w 240"/>
                <a:gd name="T13" fmla="*/ 204 h 239"/>
                <a:gd name="T14" fmla="*/ 12 w 240"/>
                <a:gd name="T15" fmla="*/ 212 h 239"/>
                <a:gd name="T16" fmla="*/ 16 w 240"/>
                <a:gd name="T17" fmla="*/ 216 h 239"/>
                <a:gd name="T18" fmla="*/ 23 w 240"/>
                <a:gd name="T19" fmla="*/ 222 h 239"/>
                <a:gd name="T20" fmla="*/ 58 w 240"/>
                <a:gd name="T21" fmla="*/ 237 h 239"/>
                <a:gd name="T22" fmla="*/ 81 w 240"/>
                <a:gd name="T23" fmla="*/ 239 h 239"/>
                <a:gd name="T24" fmla="*/ 141 w 240"/>
                <a:gd name="T25" fmla="*/ 225 h 239"/>
                <a:gd name="T26" fmla="*/ 168 w 240"/>
                <a:gd name="T27" fmla="*/ 209 h 239"/>
                <a:gd name="T28" fmla="*/ 174 w 240"/>
                <a:gd name="T29" fmla="*/ 204 h 239"/>
                <a:gd name="T30" fmla="*/ 210 w 240"/>
                <a:gd name="T31" fmla="*/ 167 h 239"/>
                <a:gd name="T32" fmla="*/ 231 w 240"/>
                <a:gd name="T33" fmla="*/ 120 h 239"/>
                <a:gd name="T34" fmla="*/ 219 w 240"/>
                <a:gd name="T35" fmla="*/ 35 h 239"/>
                <a:gd name="T36" fmla="*/ 216 w 240"/>
                <a:gd name="T37" fmla="*/ 32 h 239"/>
                <a:gd name="T38" fmla="*/ 215 w 240"/>
                <a:gd name="T39" fmla="*/ 31 h 239"/>
                <a:gd name="T40" fmla="*/ 202 w 240"/>
                <a:gd name="T41" fmla="*/ 18 h 239"/>
                <a:gd name="T42" fmla="*/ 199 w 240"/>
                <a:gd name="T43" fmla="*/ 15 h 239"/>
                <a:gd name="T44" fmla="*/ 196 w 240"/>
                <a:gd name="T45" fmla="*/ 13 h 239"/>
                <a:gd name="T46" fmla="*/ 144 w 240"/>
                <a:gd name="T47" fmla="*/ 0 h 239"/>
                <a:gd name="T48" fmla="*/ 96 w 240"/>
                <a:gd name="T49" fmla="*/ 9 h 239"/>
                <a:gd name="T50" fmla="*/ 144 w 240"/>
                <a:gd name="T51" fmla="*/ 1 h 239"/>
                <a:gd name="T52" fmla="*/ 195 w 240"/>
                <a:gd name="T53" fmla="*/ 14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0" h="239">
                  <a:moveTo>
                    <a:pt x="195" y="14"/>
                  </a:moveTo>
                  <a:cubicBezTo>
                    <a:pt x="196" y="14"/>
                    <a:pt x="197" y="15"/>
                    <a:pt x="198" y="16"/>
                  </a:cubicBezTo>
                  <a:cubicBezTo>
                    <a:pt x="208" y="36"/>
                    <a:pt x="213" y="57"/>
                    <a:pt x="213" y="79"/>
                  </a:cubicBezTo>
                  <a:cubicBezTo>
                    <a:pt x="213" y="106"/>
                    <a:pt x="205" y="132"/>
                    <a:pt x="191" y="154"/>
                  </a:cubicBezTo>
                  <a:cubicBezTo>
                    <a:pt x="150" y="218"/>
                    <a:pt x="65" y="237"/>
                    <a:pt x="0" y="197"/>
                  </a:cubicBezTo>
                  <a:cubicBezTo>
                    <a:pt x="1" y="199"/>
                    <a:pt x="1" y="199"/>
                    <a:pt x="1" y="199"/>
                  </a:cubicBezTo>
                  <a:cubicBezTo>
                    <a:pt x="2" y="201"/>
                    <a:pt x="4" y="202"/>
                    <a:pt x="5" y="204"/>
                  </a:cubicBezTo>
                  <a:cubicBezTo>
                    <a:pt x="7" y="207"/>
                    <a:pt x="9" y="209"/>
                    <a:pt x="12" y="212"/>
                  </a:cubicBezTo>
                  <a:cubicBezTo>
                    <a:pt x="13" y="213"/>
                    <a:pt x="14" y="215"/>
                    <a:pt x="16" y="216"/>
                  </a:cubicBezTo>
                  <a:cubicBezTo>
                    <a:pt x="18" y="218"/>
                    <a:pt x="20" y="220"/>
                    <a:pt x="23" y="222"/>
                  </a:cubicBezTo>
                  <a:cubicBezTo>
                    <a:pt x="33" y="229"/>
                    <a:pt x="45" y="234"/>
                    <a:pt x="58" y="237"/>
                  </a:cubicBezTo>
                  <a:cubicBezTo>
                    <a:pt x="65" y="239"/>
                    <a:pt x="73" y="239"/>
                    <a:pt x="81" y="239"/>
                  </a:cubicBezTo>
                  <a:cubicBezTo>
                    <a:pt x="102" y="239"/>
                    <a:pt x="122" y="234"/>
                    <a:pt x="141" y="225"/>
                  </a:cubicBezTo>
                  <a:cubicBezTo>
                    <a:pt x="150" y="221"/>
                    <a:pt x="159" y="215"/>
                    <a:pt x="168" y="209"/>
                  </a:cubicBezTo>
                  <a:cubicBezTo>
                    <a:pt x="170" y="207"/>
                    <a:pt x="172" y="206"/>
                    <a:pt x="174" y="204"/>
                  </a:cubicBezTo>
                  <a:cubicBezTo>
                    <a:pt x="188" y="193"/>
                    <a:pt x="200" y="181"/>
                    <a:pt x="210" y="167"/>
                  </a:cubicBezTo>
                  <a:cubicBezTo>
                    <a:pt x="220" y="152"/>
                    <a:pt x="227" y="137"/>
                    <a:pt x="231" y="120"/>
                  </a:cubicBezTo>
                  <a:cubicBezTo>
                    <a:pt x="240" y="87"/>
                    <a:pt x="236" y="58"/>
                    <a:pt x="219" y="35"/>
                  </a:cubicBezTo>
                  <a:cubicBezTo>
                    <a:pt x="218" y="34"/>
                    <a:pt x="217" y="33"/>
                    <a:pt x="216" y="32"/>
                  </a:cubicBezTo>
                  <a:cubicBezTo>
                    <a:pt x="216" y="31"/>
                    <a:pt x="215" y="31"/>
                    <a:pt x="215" y="31"/>
                  </a:cubicBezTo>
                  <a:cubicBezTo>
                    <a:pt x="212" y="26"/>
                    <a:pt x="207" y="21"/>
                    <a:pt x="202" y="18"/>
                  </a:cubicBezTo>
                  <a:cubicBezTo>
                    <a:pt x="201" y="17"/>
                    <a:pt x="200" y="16"/>
                    <a:pt x="199" y="15"/>
                  </a:cubicBezTo>
                  <a:cubicBezTo>
                    <a:pt x="198" y="15"/>
                    <a:pt x="197" y="14"/>
                    <a:pt x="196" y="13"/>
                  </a:cubicBezTo>
                  <a:cubicBezTo>
                    <a:pt x="180" y="4"/>
                    <a:pt x="162" y="0"/>
                    <a:pt x="144" y="0"/>
                  </a:cubicBezTo>
                  <a:cubicBezTo>
                    <a:pt x="127" y="0"/>
                    <a:pt x="111" y="3"/>
                    <a:pt x="96" y="9"/>
                  </a:cubicBezTo>
                  <a:cubicBezTo>
                    <a:pt x="111" y="3"/>
                    <a:pt x="127" y="0"/>
                    <a:pt x="144" y="1"/>
                  </a:cubicBezTo>
                  <a:cubicBezTo>
                    <a:pt x="161" y="0"/>
                    <a:pt x="179" y="5"/>
                    <a:pt x="195" y="1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17">
              <a:extLst>
                <a:ext uri="{FF2B5EF4-FFF2-40B4-BE49-F238E27FC236}">
                  <a16:creationId xmlns:a16="http://schemas.microsoft.com/office/drawing/2014/main" id="{AF7DF4A1-A7B0-B1BD-F756-9B5F5E07D8BE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1670307" y="3112254"/>
              <a:ext cx="217080" cy="170728"/>
            </a:xfrm>
            <a:custGeom>
              <a:avLst/>
              <a:gdLst>
                <a:gd name="T0" fmla="*/ 61 w 69"/>
                <a:gd name="T1" fmla="*/ 2 h 54"/>
                <a:gd name="T2" fmla="*/ 60 w 69"/>
                <a:gd name="T3" fmla="*/ 0 h 54"/>
                <a:gd name="T4" fmla="*/ 19 w 69"/>
                <a:gd name="T5" fmla="*/ 44 h 54"/>
                <a:gd name="T6" fmla="*/ 19 w 69"/>
                <a:gd name="T7" fmla="*/ 44 h 54"/>
                <a:gd name="T8" fmla="*/ 19 w 69"/>
                <a:gd name="T9" fmla="*/ 44 h 54"/>
                <a:gd name="T10" fmla="*/ 19 w 69"/>
                <a:gd name="T11" fmla="*/ 44 h 54"/>
                <a:gd name="T12" fmla="*/ 1 w 69"/>
                <a:gd name="T13" fmla="*/ 27 h 54"/>
                <a:gd name="T14" fmla="*/ 0 w 69"/>
                <a:gd name="T15" fmla="*/ 27 h 54"/>
                <a:gd name="T16" fmla="*/ 29 w 69"/>
                <a:gd name="T17" fmla="*/ 54 h 54"/>
                <a:gd name="T18" fmla="*/ 68 w 69"/>
                <a:gd name="T19" fmla="*/ 12 h 54"/>
                <a:gd name="T20" fmla="*/ 69 w 69"/>
                <a:gd name="T21" fmla="*/ 11 h 54"/>
                <a:gd name="T22" fmla="*/ 69 w 69"/>
                <a:gd name="T23" fmla="*/ 11 h 54"/>
                <a:gd name="T24" fmla="*/ 61 w 69"/>
                <a:gd name="T25" fmla="*/ 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" h="54">
                  <a:moveTo>
                    <a:pt x="61" y="2"/>
                  </a:moveTo>
                  <a:cubicBezTo>
                    <a:pt x="61" y="1"/>
                    <a:pt x="60" y="1"/>
                    <a:pt x="60" y="0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6" y="8"/>
                    <a:pt x="63" y="6"/>
                    <a:pt x="61" y="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18">
              <a:extLst>
                <a:ext uri="{FF2B5EF4-FFF2-40B4-BE49-F238E27FC236}">
                  <a16:creationId xmlns:a16="http://schemas.microsoft.com/office/drawing/2014/main" id="{239CC217-75E6-C396-FEF5-454CC2ACB7B8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1972364" y="2781613"/>
              <a:ext cx="224032" cy="217080"/>
            </a:xfrm>
            <a:custGeom>
              <a:avLst/>
              <a:gdLst>
                <a:gd name="T0" fmla="*/ 63 w 71"/>
                <a:gd name="T1" fmla="*/ 2 h 69"/>
                <a:gd name="T2" fmla="*/ 61 w 71"/>
                <a:gd name="T3" fmla="*/ 0 h 69"/>
                <a:gd name="T4" fmla="*/ 18 w 71"/>
                <a:gd name="T5" fmla="*/ 47 h 69"/>
                <a:gd name="T6" fmla="*/ 0 w 71"/>
                <a:gd name="T7" fmla="*/ 66 h 69"/>
                <a:gd name="T8" fmla="*/ 16 w 71"/>
                <a:gd name="T9" fmla="*/ 69 h 69"/>
                <a:gd name="T10" fmla="*/ 28 w 71"/>
                <a:gd name="T11" fmla="*/ 55 h 69"/>
                <a:gd name="T12" fmla="*/ 71 w 71"/>
                <a:gd name="T13" fmla="*/ 9 h 69"/>
                <a:gd name="T14" fmla="*/ 66 w 71"/>
                <a:gd name="T15" fmla="*/ 5 h 69"/>
                <a:gd name="T16" fmla="*/ 63 w 71"/>
                <a:gd name="T17" fmla="*/ 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69">
                  <a:moveTo>
                    <a:pt x="63" y="2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5" y="67"/>
                    <a:pt x="10" y="68"/>
                    <a:pt x="16" y="69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69" y="8"/>
                    <a:pt x="68" y="7"/>
                    <a:pt x="66" y="5"/>
                  </a:cubicBezTo>
                  <a:lnTo>
                    <a:pt x="63" y="2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20">
              <a:extLst>
                <a:ext uri="{FF2B5EF4-FFF2-40B4-BE49-F238E27FC236}">
                  <a16:creationId xmlns:a16="http://schemas.microsoft.com/office/drawing/2014/main" id="{CE6DBD75-CCB6-F4C4-ADA0-04B27D203891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969274" y="2257841"/>
              <a:ext cx="173046" cy="504459"/>
            </a:xfrm>
            <a:custGeom>
              <a:avLst/>
              <a:gdLst>
                <a:gd name="T0" fmla="*/ 55 w 55"/>
                <a:gd name="T1" fmla="*/ 159 h 160"/>
                <a:gd name="T2" fmla="*/ 54 w 55"/>
                <a:gd name="T3" fmla="*/ 158 h 160"/>
                <a:gd name="T4" fmla="*/ 41 w 55"/>
                <a:gd name="T5" fmla="*/ 69 h 160"/>
                <a:gd name="T6" fmla="*/ 55 w 55"/>
                <a:gd name="T7" fmla="*/ 34 h 160"/>
                <a:gd name="T8" fmla="*/ 22 w 55"/>
                <a:gd name="T9" fmla="*/ 0 h 160"/>
                <a:gd name="T10" fmla="*/ 8 w 55"/>
                <a:gd name="T11" fmla="*/ 36 h 160"/>
                <a:gd name="T12" fmla="*/ 10 w 55"/>
                <a:gd name="T13" fmla="*/ 109 h 160"/>
                <a:gd name="T14" fmla="*/ 14 w 55"/>
                <a:gd name="T15" fmla="*/ 116 h 160"/>
                <a:gd name="T16" fmla="*/ 21 w 55"/>
                <a:gd name="T17" fmla="*/ 127 h 160"/>
                <a:gd name="T18" fmla="*/ 43 w 55"/>
                <a:gd name="T19" fmla="*/ 148 h 160"/>
                <a:gd name="T20" fmla="*/ 55 w 55"/>
                <a:gd name="T21" fmla="*/ 15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160">
                  <a:moveTo>
                    <a:pt x="55" y="159"/>
                  </a:moveTo>
                  <a:cubicBezTo>
                    <a:pt x="54" y="159"/>
                    <a:pt x="54" y="158"/>
                    <a:pt x="54" y="158"/>
                  </a:cubicBezTo>
                  <a:cubicBezTo>
                    <a:pt x="36" y="133"/>
                    <a:pt x="32" y="103"/>
                    <a:pt x="41" y="69"/>
                  </a:cubicBezTo>
                  <a:cubicBezTo>
                    <a:pt x="44" y="57"/>
                    <a:pt x="49" y="45"/>
                    <a:pt x="55" y="3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5" y="12"/>
                    <a:pt x="11" y="24"/>
                    <a:pt x="8" y="36"/>
                  </a:cubicBezTo>
                  <a:cubicBezTo>
                    <a:pt x="0" y="64"/>
                    <a:pt x="1" y="88"/>
                    <a:pt x="10" y="109"/>
                  </a:cubicBezTo>
                  <a:cubicBezTo>
                    <a:pt x="11" y="111"/>
                    <a:pt x="13" y="114"/>
                    <a:pt x="14" y="116"/>
                  </a:cubicBezTo>
                  <a:cubicBezTo>
                    <a:pt x="16" y="120"/>
                    <a:pt x="18" y="123"/>
                    <a:pt x="21" y="127"/>
                  </a:cubicBezTo>
                  <a:cubicBezTo>
                    <a:pt x="21" y="127"/>
                    <a:pt x="33" y="139"/>
                    <a:pt x="43" y="148"/>
                  </a:cubicBezTo>
                  <a:cubicBezTo>
                    <a:pt x="50" y="155"/>
                    <a:pt x="55" y="160"/>
                    <a:pt x="55" y="159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23">
              <a:extLst>
                <a:ext uri="{FF2B5EF4-FFF2-40B4-BE49-F238E27FC236}">
                  <a16:creationId xmlns:a16="http://schemas.microsoft.com/office/drawing/2014/main" id="{DFE4B4B5-019A-CB21-71EF-539286849896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2407296" y="2390715"/>
              <a:ext cx="226350" cy="213990"/>
            </a:xfrm>
            <a:custGeom>
              <a:avLst/>
              <a:gdLst>
                <a:gd name="T0" fmla="*/ 30 w 72"/>
                <a:gd name="T1" fmla="*/ 14 h 68"/>
                <a:gd name="T2" fmla="*/ 22 w 72"/>
                <a:gd name="T3" fmla="*/ 26 h 68"/>
                <a:gd name="T4" fmla="*/ 8 w 72"/>
                <a:gd name="T5" fmla="*/ 30 h 68"/>
                <a:gd name="T6" fmla="*/ 3 w 72"/>
                <a:gd name="T7" fmla="*/ 29 h 68"/>
                <a:gd name="T8" fmla="*/ 3 w 72"/>
                <a:gd name="T9" fmla="*/ 31 h 68"/>
                <a:gd name="T10" fmla="*/ 7 w 72"/>
                <a:gd name="T11" fmla="*/ 56 h 68"/>
                <a:gd name="T12" fmla="*/ 28 w 72"/>
                <a:gd name="T13" fmla="*/ 68 h 68"/>
                <a:gd name="T14" fmla="*/ 54 w 72"/>
                <a:gd name="T15" fmla="*/ 60 h 68"/>
                <a:gd name="T16" fmla="*/ 70 w 72"/>
                <a:gd name="T17" fmla="*/ 37 h 68"/>
                <a:gd name="T18" fmla="*/ 65 w 72"/>
                <a:gd name="T19" fmla="*/ 12 h 68"/>
                <a:gd name="T20" fmla="*/ 44 w 72"/>
                <a:gd name="T21" fmla="*/ 1 h 68"/>
                <a:gd name="T22" fmla="*/ 29 w 72"/>
                <a:gd name="T23" fmla="*/ 3 h 68"/>
                <a:gd name="T24" fmla="*/ 30 w 72"/>
                <a:gd name="T25" fmla="*/ 1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68">
                  <a:moveTo>
                    <a:pt x="30" y="14"/>
                  </a:moveTo>
                  <a:cubicBezTo>
                    <a:pt x="28" y="19"/>
                    <a:pt x="26" y="23"/>
                    <a:pt x="22" y="26"/>
                  </a:cubicBezTo>
                  <a:cubicBezTo>
                    <a:pt x="18" y="29"/>
                    <a:pt x="13" y="31"/>
                    <a:pt x="8" y="30"/>
                  </a:cubicBezTo>
                  <a:cubicBezTo>
                    <a:pt x="6" y="30"/>
                    <a:pt x="5" y="30"/>
                    <a:pt x="3" y="29"/>
                  </a:cubicBezTo>
                  <a:cubicBezTo>
                    <a:pt x="3" y="30"/>
                    <a:pt x="3" y="31"/>
                    <a:pt x="3" y="31"/>
                  </a:cubicBezTo>
                  <a:cubicBezTo>
                    <a:pt x="0" y="40"/>
                    <a:pt x="2" y="49"/>
                    <a:pt x="7" y="56"/>
                  </a:cubicBezTo>
                  <a:cubicBezTo>
                    <a:pt x="12" y="63"/>
                    <a:pt x="20" y="68"/>
                    <a:pt x="28" y="68"/>
                  </a:cubicBezTo>
                  <a:cubicBezTo>
                    <a:pt x="37" y="68"/>
                    <a:pt x="47" y="66"/>
                    <a:pt x="54" y="60"/>
                  </a:cubicBezTo>
                  <a:cubicBezTo>
                    <a:pt x="62" y="54"/>
                    <a:pt x="67" y="46"/>
                    <a:pt x="70" y="37"/>
                  </a:cubicBezTo>
                  <a:cubicBezTo>
                    <a:pt x="72" y="28"/>
                    <a:pt x="70" y="19"/>
                    <a:pt x="65" y="12"/>
                  </a:cubicBezTo>
                  <a:cubicBezTo>
                    <a:pt x="61" y="5"/>
                    <a:pt x="53" y="1"/>
                    <a:pt x="44" y="1"/>
                  </a:cubicBezTo>
                  <a:cubicBezTo>
                    <a:pt x="39" y="0"/>
                    <a:pt x="34" y="1"/>
                    <a:pt x="29" y="3"/>
                  </a:cubicBezTo>
                  <a:cubicBezTo>
                    <a:pt x="30" y="7"/>
                    <a:pt x="31" y="10"/>
                    <a:pt x="30" y="1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71" name="Group 65">
              <a:extLst>
                <a:ext uri="{FF2B5EF4-FFF2-40B4-BE49-F238E27FC236}">
                  <a16:creationId xmlns:a16="http://schemas.microsoft.com/office/drawing/2014/main" id="{872D1B83-03C2-C813-395A-145391C18A4D}"/>
                </a:ext>
              </a:extLst>
            </p:cNvPr>
            <p:cNvGrpSpPr/>
            <p:nvPr/>
          </p:nvGrpSpPr>
          <p:grpSpPr>
            <a:xfrm>
              <a:off x="1198295" y="4471898"/>
              <a:ext cx="865228" cy="207809"/>
              <a:chOff x="6435726" y="5888038"/>
              <a:chExt cx="1778000" cy="427037"/>
            </a:xfrm>
          </p:grpSpPr>
          <p:sp>
            <p:nvSpPr>
              <p:cNvPr id="72" name="Freeform 35">
                <a:extLst>
                  <a:ext uri="{FF2B5EF4-FFF2-40B4-BE49-F238E27FC236}">
                    <a16:creationId xmlns:a16="http://schemas.microsoft.com/office/drawing/2014/main" id="{13E7076F-C107-E80A-C031-F42E1660FB04}"/>
                  </a:ext>
                </a:extLst>
              </p:cNvPr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7289801" y="5888038"/>
                <a:ext cx="923925" cy="311150"/>
              </a:xfrm>
              <a:custGeom>
                <a:avLst/>
                <a:gdLst>
                  <a:gd name="T0" fmla="*/ 21 w 143"/>
                  <a:gd name="T1" fmla="*/ 5 h 48"/>
                  <a:gd name="T2" fmla="*/ 2 w 143"/>
                  <a:gd name="T3" fmla="*/ 44 h 48"/>
                  <a:gd name="T4" fmla="*/ 2 w 143"/>
                  <a:gd name="T5" fmla="*/ 46 h 48"/>
                  <a:gd name="T6" fmla="*/ 142 w 143"/>
                  <a:gd name="T7" fmla="*/ 48 h 48"/>
                  <a:gd name="T8" fmla="*/ 142 w 143"/>
                  <a:gd name="T9" fmla="*/ 46 h 48"/>
                  <a:gd name="T10" fmla="*/ 71 w 143"/>
                  <a:gd name="T11" fmla="*/ 4 h 48"/>
                  <a:gd name="T12" fmla="*/ 60 w 143"/>
                  <a:gd name="T13" fmla="*/ 0 h 48"/>
                  <a:gd name="T14" fmla="*/ 21 w 143"/>
                  <a:gd name="T15" fmla="*/ 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3" h="48">
                    <a:moveTo>
                      <a:pt x="21" y="5"/>
                    </a:moveTo>
                    <a:cubicBezTo>
                      <a:pt x="0" y="11"/>
                      <a:pt x="3" y="26"/>
                      <a:pt x="2" y="44"/>
                    </a:cubicBezTo>
                    <a:cubicBezTo>
                      <a:pt x="2" y="44"/>
                      <a:pt x="2" y="45"/>
                      <a:pt x="2" y="46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42" y="47"/>
                      <a:pt x="142" y="47"/>
                      <a:pt x="142" y="46"/>
                    </a:cubicBezTo>
                    <a:cubicBezTo>
                      <a:pt x="143" y="27"/>
                      <a:pt x="94" y="10"/>
                      <a:pt x="71" y="4"/>
                    </a:cubicBezTo>
                    <a:cubicBezTo>
                      <a:pt x="64" y="2"/>
                      <a:pt x="60" y="0"/>
                      <a:pt x="60" y="0"/>
                    </a:cubicBezTo>
                    <a:cubicBezTo>
                      <a:pt x="41" y="0"/>
                      <a:pt x="29" y="2"/>
                      <a:pt x="21" y="5"/>
                    </a:cubicBezTo>
                    <a:close/>
                  </a:path>
                </a:pathLst>
              </a:custGeom>
              <a:solidFill>
                <a:srgbClr val="503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36">
                <a:extLst>
                  <a:ext uri="{FF2B5EF4-FFF2-40B4-BE49-F238E27FC236}">
                    <a16:creationId xmlns:a16="http://schemas.microsoft.com/office/drawing/2014/main" id="{6610A525-A1EA-B662-905A-D199E10C7BBC}"/>
                  </a:ext>
                </a:extLst>
              </p:cNvPr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6435726" y="5959475"/>
                <a:ext cx="917575" cy="355600"/>
              </a:xfrm>
              <a:custGeom>
                <a:avLst/>
                <a:gdLst>
                  <a:gd name="T0" fmla="*/ 21 w 142"/>
                  <a:gd name="T1" fmla="*/ 3 h 55"/>
                  <a:gd name="T2" fmla="*/ 1 w 142"/>
                  <a:gd name="T3" fmla="*/ 40 h 55"/>
                  <a:gd name="T4" fmla="*/ 1 w 142"/>
                  <a:gd name="T5" fmla="*/ 42 h 55"/>
                  <a:gd name="T6" fmla="*/ 140 w 142"/>
                  <a:gd name="T7" fmla="*/ 55 h 55"/>
                  <a:gd name="T8" fmla="*/ 140 w 142"/>
                  <a:gd name="T9" fmla="*/ 53 h 55"/>
                  <a:gd name="T10" fmla="*/ 68 w 142"/>
                  <a:gd name="T11" fmla="*/ 4 h 55"/>
                  <a:gd name="T12" fmla="*/ 60 w 142"/>
                  <a:gd name="T13" fmla="*/ 1 h 55"/>
                  <a:gd name="T14" fmla="*/ 21 w 142"/>
                  <a:gd name="T15" fmla="*/ 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" h="55">
                    <a:moveTo>
                      <a:pt x="21" y="3"/>
                    </a:moveTo>
                    <a:cubicBezTo>
                      <a:pt x="0" y="8"/>
                      <a:pt x="2" y="23"/>
                      <a:pt x="1" y="40"/>
                    </a:cubicBezTo>
                    <a:cubicBezTo>
                      <a:pt x="1" y="41"/>
                      <a:pt x="1" y="42"/>
                      <a:pt x="1" y="42"/>
                    </a:cubicBezTo>
                    <a:cubicBezTo>
                      <a:pt x="140" y="55"/>
                      <a:pt x="140" y="55"/>
                      <a:pt x="140" y="55"/>
                    </a:cubicBezTo>
                    <a:cubicBezTo>
                      <a:pt x="140" y="54"/>
                      <a:pt x="140" y="53"/>
                      <a:pt x="140" y="53"/>
                    </a:cubicBezTo>
                    <a:cubicBezTo>
                      <a:pt x="142" y="33"/>
                      <a:pt x="88" y="11"/>
                      <a:pt x="68" y="4"/>
                    </a:cubicBezTo>
                    <a:cubicBezTo>
                      <a:pt x="63" y="2"/>
                      <a:pt x="60" y="1"/>
                      <a:pt x="60" y="1"/>
                    </a:cubicBezTo>
                    <a:cubicBezTo>
                      <a:pt x="42" y="0"/>
                      <a:pt x="29" y="0"/>
                      <a:pt x="21" y="3"/>
                    </a:cubicBezTo>
                    <a:close/>
                  </a:path>
                </a:pathLst>
              </a:custGeom>
              <a:solidFill>
                <a:srgbClr val="503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77" name="Picture 76">
            <a:extLst>
              <a:ext uri="{FF2B5EF4-FFF2-40B4-BE49-F238E27FC236}">
                <a16:creationId xmlns:a16="http://schemas.microsoft.com/office/drawing/2014/main" id="{9EF77C17-532B-FBE9-9A04-71829CD51B26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10798211" y="6141740"/>
            <a:ext cx="842405" cy="480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d7ef275-a14f-4b7a-891c-533ec388453d"/>
  <p:tag name="MIO_EKGUID" val="3c696c11-8231-4816-a0d2-33e9e15838e7"/>
  <p:tag name="MIO_UPDATE" val="True"/>
  <p:tag name="MIO_VERSION" val="07.11.2019 14:21:34"/>
  <p:tag name="MIO_DBID" val="218709A9-2117-4AF1-A1EA-309C9A305E58"/>
  <p:tag name="MIO_LASTDOWNLOADED" val="05.05.2023 14:32:54.088"/>
  <p:tag name="MIO_OBJECTNAME" val="glimpse"/>
  <p:tag name="MIO_LASTEDITORNAME" val="Brigitte Katharina Schneid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fc0f89-d8fd-4448-9862-68a9b716ae3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e2333b-55eb-4aae-b950-7df98051039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e8d85e5-9361-4d15-894a-cc78eda483e0"/>
  <p:tag name="MIO_EKGUID" val="3c696c11-8231-4816-a0d2-33e9e15838e7"/>
  <p:tag name="MIO_UPDATE" val="True"/>
  <p:tag name="MIO_VERSION" val="07.11.2019 14:21:34"/>
  <p:tag name="MIO_DBID" val="218709A9-2117-4AF1-A1EA-309C9A305E58"/>
  <p:tag name="MIO_LASTDOWNLOADED" val="05.05.2023 14:32:54.088"/>
  <p:tag name="MIO_OBJECTNAME" val="glimpse"/>
  <p:tag name="MIO_LASTEDITORNAME" val="Brigitte Katharina Schneid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79ad5e4-d4f9-496b-a67b-3f4bd68a8000"/>
  <p:tag name="MIO_EKGUID" val="ccdd26cd-c57e-4ee1-8c1b-3a968f01e1f6"/>
  <p:tag name="MIO_UPDATE" val="True"/>
  <p:tag name="MIO_VERSION" val="07.11.2019 14:30:57"/>
  <p:tag name="MIO_DBID" val="218709A9-2117-4AF1-A1EA-309C9A305E58"/>
  <p:tag name="MIO_LASTDOWNLOADED" val="15.05.2023 23:06:44.421"/>
  <p:tag name="MIO_OBJECTNAME" val="scientist_idea_female"/>
  <p:tag name="MIO_LASTEDITORNAME" val="Brigitte Katharina Schneid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8d3f84a-5bfd-4373-9369-2c75f2964dce"/>
  <p:tag name="MIO_EKGUID" val="ccdd26cd-c57e-4ee1-8c1b-3a968f01e1f6"/>
  <p:tag name="MIO_UPDATE" val="True"/>
  <p:tag name="MIO_VERSION" val="07.11.2019 14:30:57"/>
  <p:tag name="MIO_DBID" val="218709A9-2117-4AF1-A1EA-309C9A305E58"/>
  <p:tag name="MIO_LASTDOWNLOADED" val="15.05.2023 23:06:44.421"/>
  <p:tag name="MIO_OBJECTNAME" val="scientist_idea_female"/>
  <p:tag name="MIO_LASTEDITORNAME" val="Brigitte Katharina Schneid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833c0c5-8c67-4520-a412-ab48ed088863"/>
  <p:tag name="MIO_EKGUID" val="ccdd26cd-c57e-4ee1-8c1b-3a968f01e1f6"/>
  <p:tag name="MIO_UPDATE" val="True"/>
  <p:tag name="MIO_VERSION" val="07.11.2019 14:30:57"/>
  <p:tag name="MIO_DBID" val="218709A9-2117-4AF1-A1EA-309C9A305E58"/>
  <p:tag name="MIO_LASTDOWNLOADED" val="15.05.2023 23:06:44.421"/>
  <p:tag name="MIO_OBJECTNAME" val="scientist_idea_female"/>
  <p:tag name="MIO_LASTEDITORNAME" val="Brigitte Katharina Schneid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5562a1c-355f-446a-84fe-f0506de72d06"/>
  <p:tag name="MIO_EKGUID" val="ccdd26cd-c57e-4ee1-8c1b-3a968f01e1f6"/>
  <p:tag name="MIO_UPDATE" val="True"/>
  <p:tag name="MIO_VERSION" val="07.11.2019 14:30:57"/>
  <p:tag name="MIO_DBID" val="218709A9-2117-4AF1-A1EA-309C9A305E58"/>
  <p:tag name="MIO_LASTDOWNLOADED" val="15.05.2023 23:06:44.421"/>
  <p:tag name="MIO_OBJECTNAME" val="scientist_idea_female"/>
  <p:tag name="MIO_LASTEDITORNAME" val="Brigitte Katharina Schneid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8e7d2d7-49e3-4105-9ce0-eb7f25e81918"/>
  <p:tag name="MIO_EKGUID" val="ccdd26cd-c57e-4ee1-8c1b-3a968f01e1f6"/>
  <p:tag name="MIO_UPDATE" val="True"/>
  <p:tag name="MIO_VERSION" val="07.11.2019 14:30:57"/>
  <p:tag name="MIO_DBID" val="218709A9-2117-4AF1-A1EA-309C9A305E58"/>
  <p:tag name="MIO_LASTDOWNLOADED" val="15.05.2023 23:06:44.421"/>
  <p:tag name="MIO_OBJECTNAME" val="scientist_idea_female"/>
  <p:tag name="MIO_LASTEDITORNAME" val="Brigitte Katharina Schnei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e33f22d-34e7-4c11-98dd-e93a50e8f399"/>
  <p:tag name="MIO_EKGUID" val="ccdd26cd-c57e-4ee1-8c1b-3a968f01e1f6"/>
  <p:tag name="MIO_UPDATE" val="True"/>
  <p:tag name="MIO_VERSION" val="07.11.2019 14:30:57"/>
  <p:tag name="MIO_DBID" val="218709A9-2117-4AF1-A1EA-309C9A305E58"/>
  <p:tag name="MIO_LASTDOWNLOADED" val="15.05.2023 23:06:44.421"/>
  <p:tag name="MIO_OBJECTNAME" val="scientist_idea_female"/>
  <p:tag name="MIO_LASTEDITORNAME" val="Brigitte Katharina Schneid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43a38d0-97ad-4c91-8f20-a40a11d2ac8e"/>
  <p:tag name="MIO_EKGUID" val="ccdd26cd-c57e-4ee1-8c1b-3a968f01e1f6"/>
  <p:tag name="MIO_UPDATE" val="True"/>
  <p:tag name="MIO_VERSION" val="07.11.2019 14:30:57"/>
  <p:tag name="MIO_DBID" val="218709A9-2117-4AF1-A1EA-309C9A305E58"/>
  <p:tag name="MIO_LASTDOWNLOADED" val="15.05.2023 23:06:44.421"/>
  <p:tag name="MIO_OBJECTNAME" val="scientist_idea_female"/>
  <p:tag name="MIO_LASTEDITORNAME" val="Brigitte Katharina Schneid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e8493f-c07c-4445-8953-2b0783391dbe"/>
  <p:tag name="MIO_EKGUID" val="ccdd26cd-c57e-4ee1-8c1b-3a968f01e1f6"/>
  <p:tag name="MIO_UPDATE" val="True"/>
  <p:tag name="MIO_VERSION" val="07.11.2019 14:30:57"/>
  <p:tag name="MIO_DBID" val="218709A9-2117-4AF1-A1EA-309C9A305E58"/>
  <p:tag name="MIO_LASTDOWNLOADED" val="15.05.2023 23:06:44.421"/>
  <p:tag name="MIO_OBJECTNAME" val="scientist_idea_female"/>
  <p:tag name="MIO_LASTEDITORNAME" val="Brigitte Katharina Schneid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52faa5-21f3-4f36-95bd-6a0cefae2a72"/>
  <p:tag name="MIO_EKGUID" val="ccdd26cd-c57e-4ee1-8c1b-3a968f01e1f6"/>
  <p:tag name="MIO_UPDATE" val="True"/>
  <p:tag name="MIO_VERSION" val="07.11.2019 14:30:57"/>
  <p:tag name="MIO_DBID" val="218709A9-2117-4AF1-A1EA-309C9A305E58"/>
  <p:tag name="MIO_LASTDOWNLOADED" val="15.05.2023 23:06:44.421"/>
  <p:tag name="MIO_OBJECTNAME" val="scientist_idea_female"/>
  <p:tag name="MIO_LASTEDITORNAME" val="Brigitte Katharina Schneid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83d3992-5218-4bde-9132-ed0cfb3233a3"/>
  <p:tag name="MIO_EKGUID" val="ccdd26cd-c57e-4ee1-8c1b-3a968f01e1f6"/>
  <p:tag name="MIO_UPDATE" val="True"/>
  <p:tag name="MIO_VERSION" val="07.11.2019 14:30:57"/>
  <p:tag name="MIO_DBID" val="218709A9-2117-4AF1-A1EA-309C9A305E58"/>
  <p:tag name="MIO_LASTDOWNLOADED" val="15.05.2023 23:06:44.421"/>
  <p:tag name="MIO_OBJECTNAME" val="scientist_idea_female"/>
  <p:tag name="MIO_LASTEDITORNAME" val="Brigitte Katharina Schneid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8557b4-546a-4f75-938d-8ebc4268a719"/>
  <p:tag name="MIO_EKGUID" val="ccdd26cd-c57e-4ee1-8c1b-3a968f01e1f6"/>
  <p:tag name="MIO_UPDATE" val="True"/>
  <p:tag name="MIO_VERSION" val="07.11.2019 14:30:57"/>
  <p:tag name="MIO_DBID" val="218709A9-2117-4AF1-A1EA-309C9A305E58"/>
  <p:tag name="MIO_LASTDOWNLOADED" val="15.05.2023 23:06:44.421"/>
  <p:tag name="MIO_OBJECTNAME" val="scientist_idea_female"/>
  <p:tag name="MIO_LASTEDITORNAME" val="Brigitte Katharina Schneid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4704c3f-d9fa-4e3e-b90e-983e299bf3f7"/>
  <p:tag name="MIO_EKGUID" val="ccdd26cd-c57e-4ee1-8c1b-3a968f01e1f6"/>
  <p:tag name="MIO_UPDATE" val="True"/>
  <p:tag name="MIO_VERSION" val="07.11.2019 14:30:57"/>
  <p:tag name="MIO_DBID" val="218709A9-2117-4AF1-A1EA-309C9A305E58"/>
  <p:tag name="MIO_LASTDOWNLOADED" val="15.05.2023 23:06:44.421"/>
  <p:tag name="MIO_OBJECTNAME" val="scientist_idea_female"/>
  <p:tag name="MIO_LASTEDITORNAME" val="Brigitte Katharina Schneid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531b78c-3061-40e2-a6a1-b8d10d7992d1"/>
  <p:tag name="MIO_EKGUID" val="ccdd26cd-c57e-4ee1-8c1b-3a968f01e1f6"/>
  <p:tag name="MIO_UPDATE" val="True"/>
  <p:tag name="MIO_VERSION" val="07.11.2019 14:30:57"/>
  <p:tag name="MIO_DBID" val="218709A9-2117-4AF1-A1EA-309C9A305E58"/>
  <p:tag name="MIO_LASTDOWNLOADED" val="15.05.2023 23:06:44.421"/>
  <p:tag name="MIO_OBJECTNAME" val="scientist_idea_female"/>
  <p:tag name="MIO_LASTEDITORNAME" val="Brigitte Katharina Schneid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5e2055f-ac0a-410b-8801-4a614734f104"/>
  <p:tag name="MIO_EKGUID" val="ccdd26cd-c57e-4ee1-8c1b-3a968f01e1f6"/>
  <p:tag name="MIO_UPDATE" val="True"/>
  <p:tag name="MIO_VERSION" val="07.11.2019 14:30:57"/>
  <p:tag name="MIO_DBID" val="218709A9-2117-4AF1-A1EA-309C9A305E58"/>
  <p:tag name="MIO_LASTDOWNLOADED" val="15.05.2023 23:06:44.421"/>
  <p:tag name="MIO_OBJECTNAME" val="scientist_idea_female"/>
  <p:tag name="MIO_LASTEDITORNAME" val="Brigitte Katharina Schneid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0c472f0-4d61-45b4-ab12-f960c9dc7fa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235,60,150,Dunkel 2"/>
  <p:tag name="MIO_MST_COLOR_4" val="45,190,205,Hell 2"/>
  <p:tag name="MIO_MST_COLOR_5" val="80,50,145,Akzent 1"/>
  <p:tag name="MIO_MST_COLOR_6" val="15,105,175,Akzent 2"/>
  <p:tag name="MIO_MST_COLOR_7" val="165,205,80,Akzent 3"/>
  <p:tag name="MIO_MST_COLOR_8" val="255,200,50,Akzent 4"/>
  <p:tag name="MIO_MST_COLOR_9" val="235,60,150,Akzent 5"/>
  <p:tag name="MIO_MST_COLOR_10" val="20,155,95,Akzent 6"/>
  <p:tag name="MIO_MST_COLOR_11" val="80,50,145,"/>
  <p:tag name="MIO_MST_COLOR_12" val="80,50,145,"/>
  <p:tag name="MIO_PRESI_FIRST_SLIDENUMBER" val="1"/>
  <p:tag name="MIO_FALLBACK_LAYOUT" val="3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33"/>
  <p:tag name="MIO_HDS" val="True"/>
  <p:tag name="MIO_EK" val="2529"/>
  <p:tag name="MIO_EKGUID" val="4d6beffb-5246-420c-a6d6-d9569b8f0fc9"/>
  <p:tag name="MIO_UPDATE" val="True"/>
  <p:tag name="MIO_VERSION" val="17.02.2017 15:54:53"/>
  <p:tag name="MIO_DBID" val="218709A9-2117-4AF1-A1EA-309C9A305E58"/>
  <p:tag name="MIO_LASTDOWNLOADED" val="24.02.2017 16:22:02"/>
  <p:tag name="MIO_OBJECTNAME" val="Merck EN"/>
  <p:tag name="MIO_LASTEDITORNAME" val="Michaela Kapal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6cc873f-9f5d-4630-9132-63070824ecd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da8ad97-1cc1-4a8d-82d0-91ec13c2725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3942b17-273a-4806-a05a-8d178dcc265c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3fcc86c-37b8-48c7-9d0a-a840dc1285c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91204b2-d8ae-44a9-92ca-c048347473d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f91ffad-b9c6-4f8a-a6b4-2baddb7764f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76850e3-ff36-44a4-abdf-ae667cac5c8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1a4301e-f6d6-4114-91cf-7c2ba277f4f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95ea435-b66a-4a89-a26e-7a6f78a77d6f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5e12b76-ec74-48bf-b7fe-9030874e8e6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33"/>
  <p:tag name="MIO_HDS" val="True"/>
  <p:tag name="MIO_EK" val="2529"/>
  <p:tag name="MIO_EKGUID" val="4d6beffb-5246-420c-a6d6-d9569b8f0fc9"/>
  <p:tag name="MIO_UPDATE" val="True"/>
  <p:tag name="MIO_VERSION" val="17.02.2017 15:53:25"/>
  <p:tag name="MIO_DBID" val="218709A9-2117-4AF1-A1EA-309C9A305E58"/>
  <p:tag name="MIO_LASTDOWNLOADED" val="17.02.2017 15:53:25"/>
  <p:tag name="MIO_OBJECTNAME" val="Merck EN"/>
  <p:tag name="MIO_LASTEDITORNAME" val="Michaela Kapalla"/>
  <p:tag name="MIO_CDID" val="102a9723-2449-4cb9-a00f-91adf1e6ccc0"/>
  <p:tag name="MIO_PRESI_FIRST_SLIDENUMB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ae0b30b-086a-407f-aa3d-0d5f9cdce4d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199343b-b5c7-413a-a020-3df8d3c0cfe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1e3b478-aed7-44f9-9eb4-60e718ea5bf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9bf62a1-b369-4f30-b6a2-75ba25cd628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9361b75-43a9-419e-9066-6cf504fea43f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85f0a1-f53b-4d53-9a0c-6d4a8b62100f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84d2ae2-29fa-45eb-905d-631daf39e06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2e3660-c2c3-4b48-a76a-665bede8987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f433270-03fb-4fe3-9458-729ee257cdd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f842bd8-c074-49a1-9fcd-bcc2fab2005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529"/>
  <p:tag name="MIO_HDS" val="True"/>
  <p:tag name="MIO_EKGUID" val="3e106131-f09f-40b3-be3e-175b521bc901"/>
  <p:tag name="MIO_UPDATE" val="True"/>
  <p:tag name="MIO_DBID" val="218709A9-2117-4AF1-A1EA-309C9A305E58"/>
  <p:tag name="MIO_OBJECTNAME" val="Technical"/>
  <p:tag name="MIO_FALLBACK_LAYOUT" val="9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3"/>
  <p:tag name="MIO_VERSION" val="16.05.2022 14:54:02"/>
  <p:tag name="MIO_SKIPVERSION" val="01.01.0001 00:00:00"/>
  <p:tag name="MIO_LASTDOWNLOADED" val="15.05.2023 22:48:07.981"/>
  <p:tag name="MIO_CDID" val="3c839a46-fc63-48ff-b751-7f689dbcff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00f4026-2921-4fa4-b8b4-c2007773417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e0898e6-8e79-4ec3-852e-b43ef927ce4c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99ddb6f-abb4-4026-b084-01757aabf7b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f7319f9-beb7-4d92-a0ef-401b744ac8c8"/>
  <p:tag name="MIO_EKGUID" val="9658a55c-6aba-4607-a7b3-2b90ae0452b3"/>
  <p:tag name="MIO_UPDATE" val="True"/>
  <p:tag name="MIO_VERSION" val="04.11.2019 14:09:25"/>
  <p:tag name="MIO_DBID" val="218709A9-2117-4AF1-A1EA-309C9A305E58"/>
  <p:tag name="MIO_LASTDOWNLOADED" val="15.05.2023 22:59:21.535"/>
  <p:tag name="MIO_OBJECTNAME" val="girl_magnifier"/>
  <p:tag name="MIO_LASTEDITORNAME" val="Brigitte Katharina Schneid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bd3c2f2-7ae5-41ce-a862-2b86eabf7590"/>
  <p:tag name="MIO_EKGUID" val="9658a55c-6aba-4607-a7b3-2b90ae0452b3"/>
  <p:tag name="MIO_UPDATE" val="True"/>
  <p:tag name="MIO_VERSION" val="04.11.2019 14:09:25"/>
  <p:tag name="MIO_DBID" val="218709A9-2117-4AF1-A1EA-309C9A305E58"/>
  <p:tag name="MIO_LASTDOWNLOADED" val="15.05.2023 22:59:21.535"/>
  <p:tag name="MIO_OBJECTNAME" val="girl_magnifier"/>
  <p:tag name="MIO_LASTEDITORNAME" val="Brigitte Katharina Schneid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da98697-ae18-4405-9204-178751e2d8b5"/>
  <p:tag name="MIO_EKGUID" val="9658a55c-6aba-4607-a7b3-2b90ae0452b3"/>
  <p:tag name="MIO_UPDATE" val="True"/>
  <p:tag name="MIO_VERSION" val="04.11.2019 14:09:25"/>
  <p:tag name="MIO_DBID" val="218709A9-2117-4AF1-A1EA-309C9A305E58"/>
  <p:tag name="MIO_LASTDOWNLOADED" val="15.05.2023 22:59:21.535"/>
  <p:tag name="MIO_OBJECTNAME" val="girl_magnifier"/>
  <p:tag name="MIO_LASTEDITORNAME" val="Brigitte Katharina Schneid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d3ec94-c7ce-4796-ac97-77d8c596885f"/>
  <p:tag name="MIO_EKGUID" val="9658a55c-6aba-4607-a7b3-2b90ae0452b3"/>
  <p:tag name="MIO_UPDATE" val="True"/>
  <p:tag name="MIO_VERSION" val="04.11.2019 14:09:25"/>
  <p:tag name="MIO_DBID" val="218709A9-2117-4AF1-A1EA-309C9A305E58"/>
  <p:tag name="MIO_LASTDOWNLOADED" val="15.05.2023 22:59:21.535"/>
  <p:tag name="MIO_OBJECTNAME" val="girl_magnifier"/>
  <p:tag name="MIO_LASTEDITORNAME" val="Brigitte Katharina Schneid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91eda51-f707-4b25-ad02-e461e635c548"/>
  <p:tag name="MIO_EKGUID" val="9658a55c-6aba-4607-a7b3-2b90ae0452b3"/>
  <p:tag name="MIO_UPDATE" val="True"/>
  <p:tag name="MIO_VERSION" val="04.11.2019 14:09:25"/>
  <p:tag name="MIO_DBID" val="218709A9-2117-4AF1-A1EA-309C9A305E58"/>
  <p:tag name="MIO_LASTDOWNLOADED" val="15.05.2023 22:59:21.535"/>
  <p:tag name="MIO_OBJECTNAME" val="girl_magnifier"/>
  <p:tag name="MIO_LASTEDITORNAME" val="Brigitte Katharina Schneid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454b88a-f4c5-48a1-893e-121de68a90a9"/>
  <p:tag name="MIO_EKGUID" val="9658a55c-6aba-4607-a7b3-2b90ae0452b3"/>
  <p:tag name="MIO_UPDATE" val="True"/>
  <p:tag name="MIO_VERSION" val="04.11.2019 14:09:25"/>
  <p:tag name="MIO_DBID" val="218709A9-2117-4AF1-A1EA-309C9A305E58"/>
  <p:tag name="MIO_LASTDOWNLOADED" val="15.05.2023 22:59:21.535"/>
  <p:tag name="MIO_OBJECTNAME" val="girl_magnifier"/>
  <p:tag name="MIO_LASTEDITORNAME" val="Brigitte Katharina Schneid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0ffcf37-7cc4-47c0-b5d6-01501831f7d3"/>
  <p:tag name="MIO_EKGUID" val="9658a55c-6aba-4607-a7b3-2b90ae0452b3"/>
  <p:tag name="MIO_UPDATE" val="True"/>
  <p:tag name="MIO_VERSION" val="04.11.2019 14:09:25"/>
  <p:tag name="MIO_DBID" val="218709A9-2117-4AF1-A1EA-309C9A305E58"/>
  <p:tag name="MIO_LASTDOWNLOADED" val="15.05.2023 22:59:21.535"/>
  <p:tag name="MIO_OBJECTNAME" val="girl_magnifier"/>
  <p:tag name="MIO_LASTEDITORNAME" val="Brigitte Katharina Schneid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b01c6fe-1f86-4b28-a3ec-066fe6647cd7"/>
  <p:tag name="MIO_EKGUID" val="9658a55c-6aba-4607-a7b3-2b90ae0452b3"/>
  <p:tag name="MIO_UPDATE" val="True"/>
  <p:tag name="MIO_VERSION" val="04.11.2019 14:09:25"/>
  <p:tag name="MIO_DBID" val="218709A9-2117-4AF1-A1EA-309C9A305E58"/>
  <p:tag name="MIO_LASTDOWNLOADED" val="15.05.2023 22:59:21.535"/>
  <p:tag name="MIO_OBJECTNAME" val="girl_magnifier"/>
  <p:tag name="MIO_LASTEDITORNAME" val="Brigitte Katharina Schneid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00fefad-fe07-4165-b72b-1c47a993e679"/>
  <p:tag name="MIO_EKGUID" val="9658a55c-6aba-4607-a7b3-2b90ae0452b3"/>
  <p:tag name="MIO_UPDATE" val="True"/>
  <p:tag name="MIO_VERSION" val="04.11.2019 14:09:25"/>
  <p:tag name="MIO_DBID" val="218709A9-2117-4AF1-A1EA-309C9A305E58"/>
  <p:tag name="MIO_LASTDOWNLOADED" val="15.05.2023 22:59:21.535"/>
  <p:tag name="MIO_OBJECTNAME" val="girl_magnifier"/>
  <p:tag name="MIO_LASTEDITORNAME" val="Brigitte Katharina Schneid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1764136-30ae-4604-97c5-e7946b3db524"/>
  <p:tag name="MIO_EKGUID" val="9658a55c-6aba-4607-a7b3-2b90ae0452b3"/>
  <p:tag name="MIO_UPDATE" val="True"/>
  <p:tag name="MIO_VERSION" val="04.11.2019 14:09:25"/>
  <p:tag name="MIO_DBID" val="218709A9-2117-4AF1-A1EA-309C9A305E58"/>
  <p:tag name="MIO_LASTDOWNLOADED" val="15.05.2023 22:59:21.535"/>
  <p:tag name="MIO_OBJECTNAME" val="girl_magnifier"/>
  <p:tag name="MIO_LASTEDITORNAME" val="Brigitte Katharina Schneid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cce55bd-e030-4c3e-8c5d-098ba4d7697c"/>
  <p:tag name="MIO_EKGUID" val="9658a55c-6aba-4607-a7b3-2b90ae0452b3"/>
  <p:tag name="MIO_UPDATE" val="True"/>
  <p:tag name="MIO_VERSION" val="04.11.2019 14:09:25"/>
  <p:tag name="MIO_DBID" val="218709A9-2117-4AF1-A1EA-309C9A305E58"/>
  <p:tag name="MIO_LASTDOWNLOADED" val="15.05.2023 22:59:21.535"/>
  <p:tag name="MIO_OBJECTNAME" val="girl_magnifier"/>
  <p:tag name="MIO_LASTEDITORNAME" val="Brigitte Katharina Schneid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5d4c5b6-a8a2-49cc-a800-16ca4b52fb25"/>
  <p:tag name="MIO_EKGUID" val="9658a55c-6aba-4607-a7b3-2b90ae0452b3"/>
  <p:tag name="MIO_UPDATE" val="True"/>
  <p:tag name="MIO_VERSION" val="04.11.2019 14:09:25"/>
  <p:tag name="MIO_DBID" val="218709A9-2117-4AF1-A1EA-309C9A305E58"/>
  <p:tag name="MIO_LASTDOWNLOADED" val="15.05.2023 22:59:21.535"/>
  <p:tag name="MIO_OBJECTNAME" val="girl_magnifier"/>
  <p:tag name="MIO_LASTEDITORNAME" val="Brigitte Katharina Schneid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65e65ee-f857-475f-9144-81a4c188c9a9"/>
  <p:tag name="MIO_EKGUID" val="9658a55c-6aba-4607-a7b3-2b90ae0452b3"/>
  <p:tag name="MIO_UPDATE" val="True"/>
  <p:tag name="MIO_VERSION" val="04.11.2019 14:09:25"/>
  <p:tag name="MIO_DBID" val="218709A9-2117-4AF1-A1EA-309C9A305E58"/>
  <p:tag name="MIO_LASTDOWNLOADED" val="15.05.2023 22:59:21.535"/>
  <p:tag name="MIO_OBJECTNAME" val="girl_magnifier"/>
  <p:tag name="MIO_LASTEDITORNAME" val="Brigitte Katharina Schneid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8bd3c5-1c50-4f33-9b82-5aa22487c13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ca79cde-078a-4b2f-a2fc-0898f7f82c88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e9c74fc-01b9-4c82-aefe-9047d9b0a9b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5835caf-1bb3-4629-8912-52e2c5f45ab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baf8c0b-e1f3-4234-af93-8e39046786f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5d9b425-16bc-4e8d-8998-7cca2e47bf3b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6700a4d-0afd-4163-bd87-80647086ac2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8679139-6057-4093-a4b3-48f005ab293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e0542ba-5f7d-4401-9017-4d48dc63deb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7db9c68-33be-4ff9-99d7-9e60d3b29af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ac2ea0e-8e00-4340-8fc9-379ff01c457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741fe87-a089-4434-9afc-cca6c61aa74c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2add987-3937-407d-9137-b2e3da721db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46f657e-85a1-4571-9c82-74b3fcd8cac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28d363-3771-4a86-8ae4-25dcbef7a9f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0d5bc8d-2c79-4e82-a979-578b69aea4e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23ba04f-059e-4d46-84ed-c86048399118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971f3b-e340-4bf7-964d-0c8dcd2af2a9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15b7aad-49ef-4b58-afeb-818fa38f1a28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3e26d2b-3348-4986-8566-ca8a7b88ee08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6e3dd93-2c48-4aaf-9184-5f138cd37ed6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307704c-4cf3-43a8-901b-f21d49027da8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7e918b5-3703-4bc4-bf12-b7e05bd2a3d3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54a091d-3ff6-43a0-9bec-794e3ba1880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84f1ef-ed82-4b2f-ac93-ed55b529af63"/>
</p:tagLst>
</file>

<file path=ppt/theme/theme1.xml><?xml version="1.0" encoding="utf-8"?>
<a:theme xmlns:a="http://schemas.openxmlformats.org/drawingml/2006/main" name="EMD Serono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kern="0" dirty="0" err="1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R="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tabLst/>
          <a:defRPr kumimoji="0" sz="1600" b="0" i="0" u="none" strike="noStrike" kern="1200" cap="none" spc="0" normalizeH="0" baseline="0" noProof="0" dirty="0" err="1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Vibrant Magenta">
      <a:srgbClr val="EB3C96"/>
    </a:custClr>
    <a:custClr name="Sensitive Pink">
      <a:srgbClr val="E1C3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ich Blue">
      <a:srgbClr val="0F69AF"/>
    </a:custClr>
    <a:custClr name="Vibrant Cyan">
      <a:srgbClr val="2DBECD"/>
    </a:custClr>
    <a:custClr name="Sensitive Blue">
      <a:srgbClr val="96D7D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ich Green">
      <a:srgbClr val="149B5F"/>
    </a:custClr>
    <a:custClr name="Vibrant Green">
      <a:srgbClr val="A5CD50"/>
    </a:custClr>
    <a:custClr name="Sensitive Green">
      <a:srgbClr val="B4DC9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ich Red">
      <a:srgbClr val="E61E50"/>
    </a:custClr>
    <a:custClr name="Vibrant Yellow">
      <a:srgbClr val="FFC832"/>
    </a:custClr>
    <a:custClr name="Sensitive Yellow">
      <a:srgbClr val="FFDCB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1" id="{FCFE3AC8-0DF5-48B4-9317-E7E525FE0247}" vid="{AF0CD0D2-0691-4460-B87D-DAA1AFED05D6}"/>
    </a:ext>
  </a:extLst>
</a:theme>
</file>

<file path=ppt/theme/theme2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EB1E4F"/>
      </a:dk2>
      <a:lt2>
        <a:srgbClr val="28BECD"/>
      </a:lt2>
      <a:accent1>
        <a:srgbClr val="52328F"/>
      </a:accent1>
      <a:accent2>
        <a:srgbClr val="0068B0"/>
      </a:accent2>
      <a:accent3>
        <a:srgbClr val="A6CD4D"/>
      </a:accent3>
      <a:accent4>
        <a:srgbClr val="FFCA30"/>
      </a:accent4>
      <a:accent5>
        <a:srgbClr val="EB4296"/>
      </a:accent5>
      <a:accent6>
        <a:srgbClr val="00995C"/>
      </a:accent6>
      <a:hlink>
        <a:srgbClr val="52328F"/>
      </a:hlink>
      <a:folHlink>
        <a:srgbClr val="52328F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lastic_new</Template>
  <TotalTime>204</TotalTime>
  <Words>221</Words>
  <Application>Microsoft Office PowerPoint</Application>
  <PresentationFormat>Widescreen</PresentationFormat>
  <Paragraphs>28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Merck</vt:lpstr>
      <vt:lpstr>Symbol</vt:lpstr>
      <vt:lpstr>Verdana</vt:lpstr>
      <vt:lpstr>Wingdings</vt:lpstr>
      <vt:lpstr>EMD Serono</vt:lpstr>
      <vt:lpstr>think-cell Slide</vt:lpstr>
      <vt:lpstr>ML Pipeline for Clinical Trial Data</vt:lpstr>
      <vt:lpstr>Phase 3 Clinical Trial Data</vt:lpstr>
      <vt:lpstr>Research Question</vt:lpstr>
      <vt:lpstr>Illustration of the Machine Learning Pipeline</vt:lpstr>
      <vt:lpstr>You Want to Know more Details?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n Bellwinkel</dc:creator>
  <cp:lastModifiedBy>Juliane Manitz</cp:lastModifiedBy>
  <cp:revision>20</cp:revision>
  <dcterms:created xsi:type="dcterms:W3CDTF">2020-05-26T13:31:04Z</dcterms:created>
  <dcterms:modified xsi:type="dcterms:W3CDTF">2023-05-22T19:38:23Z</dcterms:modified>
</cp:coreProperties>
</file>